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61" r:id="rId2"/>
    <p:sldId id="2311" r:id="rId3"/>
    <p:sldId id="2387" r:id="rId4"/>
    <p:sldId id="2314" r:id="rId5"/>
    <p:sldId id="2389" r:id="rId6"/>
    <p:sldId id="2393" r:id="rId7"/>
    <p:sldId id="2388" r:id="rId8"/>
    <p:sldId id="2351" r:id="rId9"/>
    <p:sldId id="2340" r:id="rId10"/>
    <p:sldId id="2336" r:id="rId11"/>
    <p:sldId id="2338" r:id="rId12"/>
    <p:sldId id="2391" r:id="rId13"/>
    <p:sldId id="2348" r:id="rId14"/>
    <p:sldId id="2349" r:id="rId15"/>
    <p:sldId id="2379" r:id="rId16"/>
    <p:sldId id="2380" r:id="rId17"/>
    <p:sldId id="2381" r:id="rId18"/>
    <p:sldId id="2377" r:id="rId19"/>
    <p:sldId id="2378" r:id="rId20"/>
    <p:sldId id="2382" r:id="rId21"/>
    <p:sldId id="2383" r:id="rId22"/>
    <p:sldId id="2384" r:id="rId23"/>
    <p:sldId id="2385" r:id="rId24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9F6E"/>
    <a:srgbClr val="00684B"/>
    <a:srgbClr val="82C493"/>
    <a:srgbClr val="D7EAD9"/>
    <a:srgbClr val="E9F4EA"/>
    <a:srgbClr val="A8D4B3"/>
    <a:srgbClr val="009F6F"/>
    <a:srgbClr val="003233"/>
    <a:srgbClr val="00885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06" autoAdjust="0"/>
    <p:restoredTop sz="85185" autoAdjust="0"/>
  </p:normalViewPr>
  <p:slideViewPr>
    <p:cSldViewPr snapToGrid="0">
      <p:cViewPr varScale="1">
        <p:scale>
          <a:sx n="64" d="100"/>
          <a:sy n="64" d="100"/>
        </p:scale>
        <p:origin x="376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690744920993229E-2"/>
          <c:y val="5.4166666666666669E-2"/>
          <c:w val="0.88261851015801351"/>
          <c:h val="0.8916666666666667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0.7</c:v>
                </c:pt>
                <c:pt idx="1">
                  <c:v>19.6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34-4DBD-B70F-7180AF4CFBCA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20.399999999999999</c:v>
                </c:pt>
                <c:pt idx="1">
                  <c:v>2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34-4DBD-B70F-7180AF4CF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38672943"/>
        <c:axId val="1"/>
      </c:barChart>
      <c:catAx>
        <c:axId val="1438672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.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386729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690744920993229E-2"/>
          <c:y val="5.4166666666666669E-2"/>
          <c:w val="0.88261851015801351"/>
          <c:h val="0.8916666666666667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430</c:v>
                </c:pt>
                <c:pt idx="1">
                  <c:v>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4C-4100-8E68-B8640AD11CB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429</c:v>
                </c:pt>
                <c:pt idx="1">
                  <c:v>2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4C-4100-8E68-B8640AD11C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28041919"/>
        <c:axId val="1"/>
      </c:barChart>
      <c:catAx>
        <c:axId val="14280419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8041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690744920993229E-2"/>
          <c:y val="5.4166666666666669E-2"/>
          <c:w val="0.88261851015801351"/>
          <c:h val="0.8916666666666667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37</c:v>
                </c:pt>
                <c:pt idx="1">
                  <c:v>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73-41A1-BF6F-DBCD36A768C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27</c:v>
                </c:pt>
                <c:pt idx="1">
                  <c:v>3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73-41A1-BF6F-DBCD36A768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27278671"/>
        <c:axId val="1"/>
      </c:barChart>
      <c:catAx>
        <c:axId val="14272786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72786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625698324022353E-2"/>
          <c:y val="5.4166666666666669E-2"/>
          <c:w val="0.85474860335195535"/>
          <c:h val="0.891666666666666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048-4A3D-A99C-6EFCAAE84E5E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884.5</c:v>
                </c:pt>
                <c:pt idx="1">
                  <c:v>5041.8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48-4A3D-A99C-6EFCAAE84E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29758768"/>
        <c:axId val="1"/>
      </c:barChart>
      <c:catAx>
        <c:axId val="1829758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41.899999999999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29758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625698324022353E-2"/>
          <c:y val="5.4166666666666669E-2"/>
          <c:w val="0.85474860335195535"/>
          <c:h val="0.891666666666666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FF5-47FA-B306-793A3FC03A8B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830</c:v>
                </c:pt>
                <c:pt idx="1">
                  <c:v>310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F5-47FA-B306-793A3FC03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1641311"/>
        <c:axId val="1"/>
      </c:barChart>
      <c:catAx>
        <c:axId val="7216413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05.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1641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625698324022353E-2"/>
          <c:y val="5.4166666666666669E-2"/>
          <c:w val="0.85474860335195535"/>
          <c:h val="0.891666666666666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036-4E6B-95E5-4DAA7C0DED9B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6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36-4E6B-95E5-4DAA7C0DE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0449807"/>
        <c:axId val="1"/>
      </c:barChart>
      <c:catAx>
        <c:axId val="1630449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8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304498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D33D1E-238C-4CB3-87CB-5357A7FD0FA0}" type="datetimeFigureOut">
              <a:rPr lang="en-US" smtClean="0"/>
              <a:t>6/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C64486-0088-49CB-85C5-F63BC4521F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971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paper is about a roadblock</a:t>
            </a:r>
            <a:r>
              <a:rPr lang="es-ES" dirty="0"/>
              <a:t>/</a:t>
            </a:r>
            <a:r>
              <a:rPr lang="es-ES" dirty="0" err="1"/>
              <a:t>challenge</a:t>
            </a:r>
            <a:r>
              <a:rPr lang="es-ES" dirty="0"/>
              <a:t> to the </a:t>
            </a:r>
            <a:r>
              <a:rPr lang="es-ES" dirty="0" err="1"/>
              <a:t>energy</a:t>
            </a:r>
            <a:r>
              <a:rPr lang="es-ES" dirty="0"/>
              <a:t> </a:t>
            </a:r>
            <a:r>
              <a:rPr lang="es-ES" dirty="0" err="1"/>
              <a:t>transition</a:t>
            </a:r>
            <a:r>
              <a:rPr lang="es-ES" dirty="0"/>
              <a:t> </a:t>
            </a:r>
            <a:r>
              <a:rPr lang="es-ES" dirty="0" err="1"/>
              <a:t>which</a:t>
            </a:r>
            <a:r>
              <a:rPr lang="es-ES" dirty="0"/>
              <a:t> is the </a:t>
            </a:r>
            <a:r>
              <a:rPr lang="es-ES" dirty="0" err="1"/>
              <a:t>scarci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the </a:t>
            </a:r>
            <a:r>
              <a:rPr lang="es-ES" dirty="0" err="1"/>
              <a:t>materials</a:t>
            </a:r>
            <a:r>
              <a:rPr lang="es-ES" dirty="0"/>
              <a:t> </a:t>
            </a:r>
            <a:r>
              <a:rPr lang="es-ES" dirty="0" err="1"/>
              <a:t>used</a:t>
            </a:r>
            <a:r>
              <a:rPr lang="es-ES" dirty="0"/>
              <a:t> to </a:t>
            </a:r>
            <a:r>
              <a:rPr lang="es-ES" dirty="0" err="1"/>
              <a:t>build</a:t>
            </a:r>
            <a:r>
              <a:rPr lang="es-ES" dirty="0"/>
              <a:t> </a:t>
            </a:r>
            <a:r>
              <a:rPr lang="es-ES" dirty="0" err="1"/>
              <a:t>clean</a:t>
            </a:r>
            <a:r>
              <a:rPr lang="es-ES" dirty="0"/>
              <a:t> </a:t>
            </a:r>
            <a:r>
              <a:rPr lang="es-ES" dirty="0" err="1"/>
              <a:t>energy</a:t>
            </a:r>
            <a:r>
              <a:rPr lang="es-ES" dirty="0"/>
              <a:t> </a:t>
            </a:r>
            <a:r>
              <a:rPr lang="es-ES" dirty="0" err="1"/>
              <a:t>technologies</a:t>
            </a:r>
            <a:r>
              <a:rPr lang="es-ES" dirty="0"/>
              <a:t>, and </a:t>
            </a:r>
            <a:r>
              <a:rPr lang="es-ES" dirty="0" err="1"/>
              <a:t>some</a:t>
            </a:r>
            <a:r>
              <a:rPr lang="es-ES" dirty="0"/>
              <a:t> ideas on </a:t>
            </a:r>
            <a:r>
              <a:rPr lang="es-ES" dirty="0" err="1"/>
              <a:t>how</a:t>
            </a:r>
            <a:r>
              <a:rPr lang="es-ES" dirty="0"/>
              <a:t> </a:t>
            </a:r>
            <a:r>
              <a:rPr lang="es-ES" dirty="0" err="1"/>
              <a:t>industry</a:t>
            </a:r>
            <a:r>
              <a:rPr lang="es-ES" dirty="0"/>
              <a:t>/</a:t>
            </a:r>
            <a:r>
              <a:rPr lang="es-ES" dirty="0" err="1"/>
              <a:t>policymakers</a:t>
            </a:r>
            <a:r>
              <a:rPr lang="es-ES" dirty="0"/>
              <a:t> can </a:t>
            </a:r>
            <a:r>
              <a:rPr lang="es-ES" dirty="0" err="1"/>
              <a:t>remediate</a:t>
            </a:r>
            <a:r>
              <a:rPr lang="es-ES" dirty="0"/>
              <a:t> </a:t>
            </a:r>
            <a:r>
              <a:rPr lang="es-ES" dirty="0" err="1"/>
              <a:t>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9199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2061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3409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E0020C-34B3-4644-B138-3A9503ECB28E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0087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s-ES" dirty="0" err="1"/>
              <a:t>Increasingly</a:t>
            </a:r>
            <a:r>
              <a:rPr lang="es-ES" dirty="0"/>
              <a:t> </a:t>
            </a:r>
            <a:r>
              <a:rPr lang="es-ES" dirty="0" err="1"/>
              <a:t>complex</a:t>
            </a:r>
            <a:r>
              <a:rPr lang="es-ES" dirty="0"/>
              <a:t> </a:t>
            </a:r>
            <a:r>
              <a:rPr lang="es-ES" dirty="0" err="1"/>
              <a:t>energy</a:t>
            </a:r>
            <a:r>
              <a:rPr lang="es-ES" dirty="0"/>
              <a:t> </a:t>
            </a:r>
            <a:r>
              <a:rPr lang="es-ES" dirty="0" err="1"/>
              <a:t>technologies</a:t>
            </a:r>
            <a:r>
              <a:rPr lang="es-ES" dirty="0"/>
              <a:t> use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increasingly</a:t>
            </a:r>
            <a:r>
              <a:rPr lang="es-ES" dirty="0"/>
              <a:t> </a:t>
            </a:r>
            <a:r>
              <a:rPr lang="es-ES" dirty="0" err="1"/>
              <a:t>wide</a:t>
            </a:r>
            <a:r>
              <a:rPr lang="es-ES" dirty="0"/>
              <a:t> </a:t>
            </a:r>
            <a:r>
              <a:rPr lang="es-ES" dirty="0" err="1"/>
              <a:t>rang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etals</a:t>
            </a:r>
            <a:r>
              <a:rPr lang="es-ES" dirty="0"/>
              <a:t> in </a:t>
            </a:r>
            <a:r>
              <a:rPr lang="es-ES" dirty="0" err="1"/>
              <a:t>large</a:t>
            </a:r>
            <a:r>
              <a:rPr lang="es-ES" dirty="0"/>
              <a:t> </a:t>
            </a:r>
            <a:r>
              <a:rPr lang="es-ES" dirty="0" err="1"/>
              <a:t>quantities</a:t>
            </a:r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 err="1"/>
              <a:t>Clean</a:t>
            </a:r>
            <a:r>
              <a:rPr lang="es-ES" dirty="0"/>
              <a:t> </a:t>
            </a:r>
            <a:r>
              <a:rPr lang="es-ES" dirty="0" err="1"/>
              <a:t>energy</a:t>
            </a:r>
            <a:r>
              <a:rPr lang="es-ES" dirty="0"/>
              <a:t> </a:t>
            </a:r>
            <a:r>
              <a:rPr lang="es-ES" dirty="0" err="1"/>
              <a:t>technologies</a:t>
            </a:r>
            <a:r>
              <a:rPr lang="es-ES" dirty="0"/>
              <a:t> use </a:t>
            </a:r>
            <a:r>
              <a:rPr lang="es-ES" dirty="0" err="1"/>
              <a:t>large</a:t>
            </a:r>
            <a:r>
              <a:rPr lang="es-ES" dirty="0"/>
              <a:t> </a:t>
            </a:r>
            <a:r>
              <a:rPr lang="es-ES" dirty="0" err="1"/>
              <a:t>amount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inerals</a:t>
            </a:r>
            <a:r>
              <a:rPr lang="es-ES" dirty="0"/>
              <a:t>, </a:t>
            </a:r>
            <a:r>
              <a:rPr lang="es-ES" dirty="0" err="1"/>
              <a:t>such</a:t>
            </a:r>
            <a:r>
              <a:rPr lang="es-ES" dirty="0"/>
              <a:t> as rare </a:t>
            </a:r>
            <a:r>
              <a:rPr lang="es-ES" dirty="0" err="1"/>
              <a:t>earth</a:t>
            </a:r>
            <a:r>
              <a:rPr lang="es-ES" dirty="0"/>
              <a:t> </a:t>
            </a:r>
            <a:r>
              <a:rPr lang="es-ES" dirty="0" err="1"/>
              <a:t>metal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wind</a:t>
            </a:r>
            <a:r>
              <a:rPr lang="es-ES" dirty="0"/>
              <a:t> turbines, </a:t>
            </a:r>
            <a:r>
              <a:rPr lang="es-ES" dirty="0" err="1"/>
              <a:t>silver&amp;copper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solar panels and </a:t>
            </a:r>
            <a:r>
              <a:rPr lang="es-ES" dirty="0" err="1"/>
              <a:t>lithium&amp;cobalt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batteries</a:t>
            </a:r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endParaRPr lang="es-ES" dirty="0"/>
          </a:p>
          <a:p>
            <a:r>
              <a:rPr lang="es-ES" dirty="0" err="1"/>
              <a:t>Challenge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low</a:t>
            </a:r>
            <a:r>
              <a:rPr lang="es-ES" dirty="0"/>
              <a:t> </a:t>
            </a:r>
            <a:r>
              <a:rPr lang="es-ES" dirty="0" err="1"/>
              <a:t>carbon</a:t>
            </a:r>
            <a:r>
              <a:rPr lang="es-ES" dirty="0"/>
              <a:t> </a:t>
            </a:r>
            <a:r>
              <a:rPr lang="es-ES" dirty="0" err="1"/>
              <a:t>energy</a:t>
            </a:r>
            <a:r>
              <a:rPr lang="es-ES" dirty="0"/>
              <a:t> is </a:t>
            </a:r>
            <a:r>
              <a:rPr lang="es-ES" dirty="0" err="1"/>
              <a:t>materials</a:t>
            </a:r>
            <a:endParaRPr lang="es-ES" dirty="0"/>
          </a:p>
          <a:p>
            <a:r>
              <a:rPr lang="es-ES" dirty="0"/>
              <a:t>Not </a:t>
            </a:r>
            <a:r>
              <a:rPr lang="es-ES" dirty="0" err="1"/>
              <a:t>only</a:t>
            </a:r>
            <a:r>
              <a:rPr lang="es-ES" dirty="0"/>
              <a:t> </a:t>
            </a:r>
            <a:r>
              <a:rPr lang="es-ES" dirty="0" err="1"/>
              <a:t>increasing</a:t>
            </a:r>
            <a:r>
              <a:rPr lang="es-ES" dirty="0"/>
              <a:t> </a:t>
            </a:r>
            <a:r>
              <a:rPr lang="es-ES" dirty="0" err="1"/>
              <a:t>quantities</a:t>
            </a:r>
            <a:r>
              <a:rPr lang="es-ES" dirty="0"/>
              <a:t>, </a:t>
            </a:r>
            <a:r>
              <a:rPr lang="es-ES" dirty="0" err="1"/>
              <a:t>but</a:t>
            </a:r>
            <a:r>
              <a:rPr lang="es-ES" dirty="0"/>
              <a:t> </a:t>
            </a:r>
            <a:r>
              <a:rPr lang="es-ES" dirty="0" err="1"/>
              <a:t>also</a:t>
            </a:r>
            <a:r>
              <a:rPr lang="es-ES" dirty="0"/>
              <a:t> </a:t>
            </a:r>
            <a:r>
              <a:rPr lang="es-ES" dirty="0" err="1"/>
              <a:t>wider</a:t>
            </a:r>
            <a:r>
              <a:rPr lang="es-ES" dirty="0"/>
              <a:t> </a:t>
            </a:r>
            <a:r>
              <a:rPr lang="es-ES" dirty="0" err="1"/>
              <a:t>range</a:t>
            </a:r>
            <a:r>
              <a:rPr lang="es-ES" dirty="0"/>
              <a:t> </a:t>
            </a:r>
            <a:r>
              <a:rPr lang="es-ES" dirty="0" err="1"/>
              <a:t>becaus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the </a:t>
            </a:r>
            <a:r>
              <a:rPr lang="es-ES" dirty="0" err="1"/>
              <a:t>increasingly</a:t>
            </a:r>
            <a:r>
              <a:rPr lang="es-ES" dirty="0"/>
              <a:t> </a:t>
            </a:r>
            <a:r>
              <a:rPr lang="es-ES" dirty="0" err="1"/>
              <a:t>complex</a:t>
            </a:r>
            <a:r>
              <a:rPr lang="es-ES" dirty="0"/>
              <a:t> </a:t>
            </a:r>
            <a:r>
              <a:rPr lang="es-ES" dirty="0" err="1"/>
              <a:t>products</a:t>
            </a:r>
            <a:endParaRPr lang="es-ES" dirty="0"/>
          </a:p>
          <a:p>
            <a:endParaRPr lang="es-ES" dirty="0"/>
          </a:p>
          <a:p>
            <a:r>
              <a:rPr lang="es-ES" dirty="0" err="1"/>
              <a:t>Looking</a:t>
            </a:r>
            <a:r>
              <a:rPr lang="es-ES" dirty="0"/>
              <a:t> back, </a:t>
            </a:r>
            <a:r>
              <a:rPr lang="es-ES" dirty="0" err="1"/>
              <a:t>humanity</a:t>
            </a:r>
            <a:r>
              <a:rPr lang="es-ES" dirty="0"/>
              <a:t> is </a:t>
            </a:r>
            <a:r>
              <a:rPr lang="es-ES" dirty="0" err="1"/>
              <a:t>using</a:t>
            </a:r>
            <a:r>
              <a:rPr lang="es-ES" dirty="0"/>
              <a:t> </a:t>
            </a:r>
            <a:r>
              <a:rPr lang="es-ES" dirty="0" err="1"/>
              <a:t>increasingly</a:t>
            </a:r>
            <a:r>
              <a:rPr lang="es-ES" dirty="0"/>
              <a:t> </a:t>
            </a:r>
            <a:r>
              <a:rPr lang="es-ES" dirty="0" err="1"/>
              <a:t>complex</a:t>
            </a:r>
            <a:r>
              <a:rPr lang="es-ES" dirty="0"/>
              <a:t> </a:t>
            </a:r>
            <a:r>
              <a:rPr lang="es-ES" dirty="0" err="1"/>
              <a:t>products</a:t>
            </a:r>
            <a:r>
              <a:rPr lang="es-ES" dirty="0"/>
              <a:t> and </a:t>
            </a:r>
            <a:r>
              <a:rPr lang="es-ES" dirty="0" err="1"/>
              <a:t>materials</a:t>
            </a:r>
            <a:r>
              <a:rPr lang="es-ES" dirty="0"/>
              <a:t> to </a:t>
            </a:r>
            <a:r>
              <a:rPr lang="es-ES" dirty="0" err="1"/>
              <a:t>create</a:t>
            </a:r>
            <a:r>
              <a:rPr lang="es-ES" dirty="0"/>
              <a:t> and </a:t>
            </a:r>
            <a:r>
              <a:rPr lang="es-ES" dirty="0" err="1"/>
              <a:t>harness</a:t>
            </a:r>
            <a:r>
              <a:rPr lang="es-ES" dirty="0"/>
              <a:t> </a:t>
            </a:r>
            <a:r>
              <a:rPr lang="es-ES" dirty="0" err="1"/>
              <a:t>energy</a:t>
            </a:r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/>
              <a:t>Mills – </a:t>
            </a:r>
            <a:r>
              <a:rPr lang="es-ES" dirty="0" err="1"/>
              <a:t>wood</a:t>
            </a:r>
            <a:r>
              <a:rPr lang="es-ES" dirty="0"/>
              <a:t>, lime, </a:t>
            </a:r>
            <a:r>
              <a:rPr lang="es-ES" dirty="0" err="1"/>
              <a:t>iron</a:t>
            </a:r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 err="1"/>
              <a:t>Steam</a:t>
            </a:r>
            <a:r>
              <a:rPr lang="es-ES" dirty="0"/>
              <a:t> machine – </a:t>
            </a:r>
            <a:r>
              <a:rPr lang="es-ES" dirty="0" err="1"/>
              <a:t>fuell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coal</a:t>
            </a:r>
            <a:r>
              <a:rPr lang="es-ES" dirty="0"/>
              <a:t>– </a:t>
            </a:r>
            <a:r>
              <a:rPr lang="es-ES" dirty="0" err="1"/>
              <a:t>copper</a:t>
            </a:r>
            <a:r>
              <a:rPr lang="es-ES" dirty="0"/>
              <a:t>, </a:t>
            </a:r>
            <a:r>
              <a:rPr lang="es-ES" dirty="0" err="1"/>
              <a:t>tin</a:t>
            </a:r>
            <a:r>
              <a:rPr lang="es-ES" dirty="0"/>
              <a:t>, lead,…</a:t>
            </a:r>
          </a:p>
          <a:p>
            <a:pPr marL="171450" indent="-171450">
              <a:buFontTx/>
              <a:buChar char="-"/>
            </a:pPr>
            <a:r>
              <a:rPr lang="es-ES" dirty="0"/>
              <a:t>Cars – </a:t>
            </a:r>
            <a:r>
              <a:rPr lang="es-ES" dirty="0" err="1"/>
              <a:t>Fuell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oil</a:t>
            </a:r>
            <a:r>
              <a:rPr lang="es-ES" dirty="0"/>
              <a:t> – </a:t>
            </a:r>
            <a:r>
              <a:rPr lang="es-ES" dirty="0" err="1"/>
              <a:t>wider</a:t>
            </a:r>
            <a:r>
              <a:rPr lang="es-ES" dirty="0"/>
              <a:t> </a:t>
            </a:r>
            <a:r>
              <a:rPr lang="es-ES" dirty="0" err="1"/>
              <a:t>rang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etals</a:t>
            </a:r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/>
              <a:t>New </a:t>
            </a:r>
            <a:r>
              <a:rPr lang="es-ES" dirty="0" err="1"/>
              <a:t>energy</a:t>
            </a:r>
            <a:r>
              <a:rPr lang="es-ES" dirty="0"/>
              <a:t> </a:t>
            </a:r>
            <a:r>
              <a:rPr lang="es-ES" dirty="0" err="1"/>
              <a:t>products</a:t>
            </a:r>
            <a:r>
              <a:rPr lang="es-ES" dirty="0"/>
              <a:t> use the </a:t>
            </a:r>
            <a:r>
              <a:rPr lang="es-ES" dirty="0" err="1"/>
              <a:t>widest</a:t>
            </a:r>
            <a:r>
              <a:rPr lang="es-ES" dirty="0"/>
              <a:t> </a:t>
            </a:r>
            <a:r>
              <a:rPr lang="es-ES" dirty="0" err="1"/>
              <a:t>rang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products</a:t>
            </a:r>
            <a:r>
              <a:rPr lang="es-ES" dirty="0"/>
              <a:t> in the </a:t>
            </a:r>
            <a:r>
              <a:rPr lang="es-ES" dirty="0" err="1"/>
              <a:t>highest</a:t>
            </a:r>
            <a:r>
              <a:rPr lang="es-ES" dirty="0"/>
              <a:t> </a:t>
            </a:r>
            <a:r>
              <a:rPr lang="es-ES" dirty="0" err="1"/>
              <a:t>quantities</a:t>
            </a:r>
            <a:r>
              <a:rPr lang="es-ES" dirty="0"/>
              <a:t> </a:t>
            </a:r>
            <a:r>
              <a:rPr lang="es-ES" dirty="0" err="1"/>
              <a:t>than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in </a:t>
            </a:r>
            <a:r>
              <a:rPr lang="es-ES" dirty="0" err="1"/>
              <a:t>history</a:t>
            </a:r>
            <a:endParaRPr lang="es-ES" dirty="0"/>
          </a:p>
          <a:p>
            <a:pPr marL="628650" lvl="1" indent="-171450">
              <a:buFontTx/>
              <a:buChar char="-"/>
            </a:pPr>
            <a:r>
              <a:rPr lang="es-ES" dirty="0" err="1"/>
              <a:t>Wind</a:t>
            </a:r>
            <a:r>
              <a:rPr lang="es-ES" dirty="0"/>
              <a:t> turbines – 1 ton </a:t>
            </a:r>
            <a:r>
              <a:rPr lang="es-ES" dirty="0" err="1"/>
              <a:t>of</a:t>
            </a:r>
            <a:r>
              <a:rPr lang="es-ES" dirty="0"/>
              <a:t> Rare </a:t>
            </a:r>
            <a:r>
              <a:rPr lang="es-ES" dirty="0" err="1"/>
              <a:t>Earth</a:t>
            </a:r>
            <a:r>
              <a:rPr lang="es-ES" dirty="0"/>
              <a:t> </a:t>
            </a:r>
            <a:r>
              <a:rPr lang="es-ES" dirty="0" err="1"/>
              <a:t>Metals</a:t>
            </a:r>
            <a:r>
              <a:rPr lang="es-ES" dirty="0"/>
              <a:t> in </a:t>
            </a:r>
            <a:r>
              <a:rPr lang="es-ES" dirty="0" err="1"/>
              <a:t>each</a:t>
            </a:r>
            <a:r>
              <a:rPr lang="es-ES" dirty="0"/>
              <a:t> turbine</a:t>
            </a:r>
          </a:p>
          <a:p>
            <a:pPr marL="628650" lvl="1" indent="-171450">
              <a:buFontTx/>
              <a:buChar char="-"/>
            </a:pPr>
            <a:r>
              <a:rPr lang="es-ES" dirty="0"/>
              <a:t>Solar panels – Silicon, Silver, </a:t>
            </a:r>
            <a:r>
              <a:rPr lang="es-ES" dirty="0" err="1"/>
              <a:t>Copper</a:t>
            </a:r>
            <a:r>
              <a:rPr lang="es-ES" dirty="0"/>
              <a:t> – 20g/solar panels, 1ton/MW, </a:t>
            </a:r>
          </a:p>
          <a:p>
            <a:pPr marL="628650" lvl="1" indent="-171450">
              <a:buFontTx/>
              <a:buChar char="-"/>
            </a:pPr>
            <a:r>
              <a:rPr lang="es-ES" dirty="0" err="1"/>
              <a:t>Batteries</a:t>
            </a:r>
            <a:r>
              <a:rPr lang="es-ES" dirty="0"/>
              <a:t> (EV cars) – </a:t>
            </a:r>
            <a:r>
              <a:rPr lang="es-ES" dirty="0" err="1"/>
              <a:t>Lithium</a:t>
            </a:r>
            <a:r>
              <a:rPr lang="es-ES" dirty="0"/>
              <a:t>, </a:t>
            </a:r>
            <a:r>
              <a:rPr lang="es-ES" dirty="0" err="1"/>
              <a:t>Cobalt</a:t>
            </a:r>
            <a:r>
              <a:rPr lang="es-ES" dirty="0"/>
              <a:t>, Nickel, </a:t>
            </a:r>
            <a:r>
              <a:rPr lang="es-ES" dirty="0" err="1"/>
              <a:t>Copper</a:t>
            </a:r>
            <a:r>
              <a:rPr lang="es-ES" dirty="0"/>
              <a:t> – 8kg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lithium</a:t>
            </a:r>
            <a:r>
              <a:rPr lang="es-ES" dirty="0"/>
              <a:t>, 14kg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obalt</a:t>
            </a:r>
            <a:r>
              <a:rPr lang="es-ES" dirty="0"/>
              <a:t> and 20kg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anganese</a:t>
            </a:r>
            <a:r>
              <a:rPr lang="es-ES" dirty="0"/>
              <a:t> in </a:t>
            </a:r>
            <a:r>
              <a:rPr lang="es-ES" dirty="0" err="1"/>
              <a:t>an</a:t>
            </a:r>
            <a:r>
              <a:rPr lang="es-ES" dirty="0"/>
              <a:t> EV </a:t>
            </a:r>
            <a:r>
              <a:rPr lang="es-ES" dirty="0" err="1"/>
              <a:t>battery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08D068-D87D-4462-A7CF-6313893A4A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6719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effectLst/>
                <a:latin typeface="Arial" panose="020B0604020202020204" pitchFamily="34" charset="0"/>
              </a:rPr>
              <a:t>Additional mining won’t solve the problem: 15+ years to open a mine, expected mine production won’t catch up by 2030. Plus, social opposition (France, Serbia, </a:t>
            </a:r>
            <a:r>
              <a:rPr lang="en-US" b="0" i="0" dirty="0" err="1">
                <a:effectLst/>
                <a:latin typeface="Arial" panose="020B0604020202020204" pitchFamily="34" charset="0"/>
              </a:rPr>
              <a:t>etc</a:t>
            </a:r>
            <a:r>
              <a:rPr lang="en-US" b="0" i="0" dirty="0">
                <a:effectLst/>
                <a:latin typeface="Arial" panose="020B060402020202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effectLst/>
                <a:latin typeface="Arial" panose="020B0604020202020204" pitchFamily="34" charset="0"/>
              </a:rPr>
              <a:t>Supply is very concentrated in a few countries (both extraction and processing), which makes supply volatile to geopolitical tens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 dirty="0">
                <a:effectLst/>
                <a:latin typeface="Arial" panose="020B0604020202020204" pitchFamily="34" charset="0"/>
              </a:rPr>
              <a:t>Beyond physical limits -&gt; “Geopolitical scarcity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08D068-D87D-4462-A7CF-6313893A4A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1893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dirty="0">
                <a:solidFill>
                  <a:schemeClr val="tx1"/>
                </a:solidFill>
              </a:rPr>
              <a:t>Let me use solar panels as a running example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1 – Do nothing, continue to mine, continue to decommission products at EOL (today, the simplified recycling technologies which are used recover at best low-value materials)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2 – Invest in: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	- MR</a:t>
            </a:r>
          </a:p>
          <a:p>
            <a:r>
              <a:rPr lang="en-US" sz="1200" b="0" dirty="0">
                <a:solidFill>
                  <a:schemeClr val="tx1"/>
                </a:solidFill>
              </a:rPr>
              <a:t>	-UM -&gt; Requires investments to build complex recycling processes and reverse logistics</a:t>
            </a:r>
          </a:p>
          <a:p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200" b="1" dirty="0">
                <a:solidFill>
                  <a:schemeClr val="tx1"/>
                </a:solidFill>
              </a:rPr>
              <a:t>Which is the better approach from a business/policy point of view? Where are the misalignments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832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dirty="0">
                <a:solidFill>
                  <a:schemeClr val="tx1"/>
                </a:solidFill>
              </a:rPr>
              <a:t>Which is the better approach from a business/policy point of view? Where are the misalignments?</a:t>
            </a:r>
          </a:p>
          <a:p>
            <a:r>
              <a:rPr lang="en-US" sz="1200" b="1" dirty="0">
                <a:solidFill>
                  <a:schemeClr val="tx1"/>
                </a:solidFill>
              </a:rPr>
              <a:t>For the sake of time, I have refrained from putting equations into the presentation, but all of the details are in the paper available onl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105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Scarcit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apture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b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explicitel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modell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ric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f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ritical</a:t>
            </a:r>
            <a:r>
              <a:rPr lang="es-AR" sz="1200" dirty="0">
                <a:solidFill>
                  <a:schemeClr val="tx2"/>
                </a:solidFill>
              </a:rPr>
              <a:t> raw material as </a:t>
            </a:r>
            <a:r>
              <a:rPr lang="es-AR" sz="1200" dirty="0" err="1">
                <a:solidFill>
                  <a:schemeClr val="tx2"/>
                </a:solidFill>
              </a:rPr>
              <a:t>increas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with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quantit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onsumed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follow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literature</a:t>
            </a: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Virgin</a:t>
            </a:r>
            <a:r>
              <a:rPr lang="es-AR" sz="1200" dirty="0">
                <a:solidFill>
                  <a:schemeClr val="tx2"/>
                </a:solidFill>
              </a:rPr>
              <a:t> material </a:t>
            </a:r>
            <a:r>
              <a:rPr lang="es-AR" sz="1200" dirty="0" err="1">
                <a:solidFill>
                  <a:schemeClr val="tx2"/>
                </a:solidFill>
              </a:rPr>
              <a:t>pric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i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also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subjec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o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volatility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captur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ther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market</a:t>
            </a:r>
            <a:r>
              <a:rPr lang="es-ES" sz="1200" dirty="0">
                <a:solidFill>
                  <a:schemeClr val="tx2"/>
                </a:solidFill>
              </a:rPr>
              <a:t>-</a:t>
            </a:r>
            <a:r>
              <a:rPr lang="es-ES" sz="1200" dirty="0" err="1">
                <a:solidFill>
                  <a:schemeClr val="tx2"/>
                </a:solidFill>
              </a:rPr>
              <a:t>related</a:t>
            </a:r>
            <a:r>
              <a:rPr lang="es-ES" sz="1200" dirty="0">
                <a:solidFill>
                  <a:schemeClr val="tx2"/>
                </a:solidFill>
              </a:rPr>
              <a:t> </a:t>
            </a:r>
            <a:r>
              <a:rPr lang="es-ES" sz="1200" dirty="0" err="1">
                <a:solidFill>
                  <a:schemeClr val="tx2"/>
                </a:solidFill>
              </a:rPr>
              <a:t>effects</a:t>
            </a: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ritical</a:t>
            </a:r>
            <a:r>
              <a:rPr lang="es-AR" sz="1200" dirty="0">
                <a:solidFill>
                  <a:schemeClr val="tx2"/>
                </a:solidFill>
              </a:rPr>
              <a:t> material </a:t>
            </a:r>
            <a:r>
              <a:rPr lang="es-AR" sz="1200" dirty="0" err="1">
                <a:solidFill>
                  <a:schemeClr val="tx2"/>
                </a:solidFill>
              </a:rPr>
              <a:t>is</a:t>
            </a:r>
            <a:r>
              <a:rPr lang="es-AR" sz="1200" dirty="0">
                <a:solidFill>
                  <a:schemeClr val="tx2"/>
                </a:solidFill>
              </a:rPr>
              <a:t> a </a:t>
            </a:r>
            <a:r>
              <a:rPr lang="es-AR" sz="1200" dirty="0" err="1">
                <a:solidFill>
                  <a:schemeClr val="tx2"/>
                </a:solidFill>
              </a:rPr>
              <a:t>commodit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rade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under</a:t>
            </a:r>
            <a:r>
              <a:rPr lang="es-AR" sz="1200" dirty="0">
                <a:solidFill>
                  <a:schemeClr val="tx2"/>
                </a:solidFill>
              </a:rPr>
              <a:t> a </a:t>
            </a:r>
            <a:r>
              <a:rPr lang="es-AR" sz="1200" dirty="0" err="1">
                <a:solidFill>
                  <a:schemeClr val="tx2"/>
                </a:solidFill>
              </a:rPr>
              <a:t>index-linke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ontract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mean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a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roducer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hoose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urchas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quantit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ahea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f</a:t>
            </a:r>
            <a:r>
              <a:rPr lang="es-AR" sz="1200" dirty="0">
                <a:solidFill>
                  <a:schemeClr val="tx2"/>
                </a:solidFill>
              </a:rPr>
              <a:t> time </a:t>
            </a:r>
            <a:r>
              <a:rPr lang="es-AR" sz="1200" dirty="0" err="1">
                <a:solidFill>
                  <a:schemeClr val="tx2"/>
                </a:solidFill>
              </a:rPr>
              <a:t>bu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ric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ai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for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ommodit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i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reveale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later</a:t>
            </a:r>
            <a:r>
              <a:rPr lang="es-AR" sz="1200" dirty="0">
                <a:solidFill>
                  <a:schemeClr val="tx2"/>
                </a:solidFill>
              </a:rPr>
              <a:t>. </a:t>
            </a:r>
            <a:r>
              <a:rPr lang="es-AR" sz="1200" dirty="0" err="1">
                <a:solidFill>
                  <a:schemeClr val="tx2"/>
                </a:solidFill>
              </a:rPr>
              <a:t>Thus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roducer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risk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incurring</a:t>
            </a:r>
            <a:r>
              <a:rPr lang="es-AR" sz="1200" dirty="0">
                <a:solidFill>
                  <a:schemeClr val="tx2"/>
                </a:solidFill>
              </a:rPr>
              <a:t> negative </a:t>
            </a:r>
            <a:r>
              <a:rPr lang="es-AR" sz="1200" dirty="0" err="1">
                <a:solidFill>
                  <a:schemeClr val="tx2"/>
                </a:solidFill>
              </a:rPr>
              <a:t>profits</a:t>
            </a:r>
            <a:r>
              <a:rPr lang="es-AR" sz="1200" dirty="0">
                <a:solidFill>
                  <a:schemeClr val="tx2"/>
                </a:solidFill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Revenues</a:t>
            </a:r>
            <a:r>
              <a:rPr lang="es-AR" sz="1200" dirty="0">
                <a:solidFill>
                  <a:schemeClr val="tx2"/>
                </a:solidFill>
              </a:rPr>
              <a:t> are </a:t>
            </a:r>
            <a:r>
              <a:rPr lang="es-AR" sz="1200" dirty="0" err="1">
                <a:solidFill>
                  <a:schemeClr val="tx2"/>
                </a:solidFill>
              </a:rPr>
              <a:t>proportional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o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energ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generated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no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unit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f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ritical</a:t>
            </a:r>
            <a:r>
              <a:rPr lang="es-AR" sz="1200" dirty="0">
                <a:solidFill>
                  <a:schemeClr val="tx2"/>
                </a:solidFill>
              </a:rPr>
              <a:t> material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Benchmark</a:t>
            </a:r>
            <a:r>
              <a:rPr lang="es-AR" sz="1200" dirty="0">
                <a:solidFill>
                  <a:schemeClr val="tx2"/>
                </a:solidFill>
              </a:rPr>
              <a:t> – </a:t>
            </a:r>
            <a:r>
              <a:rPr lang="es-AR" sz="1200" dirty="0" err="1">
                <a:solidFill>
                  <a:schemeClr val="tx2"/>
                </a:solidFill>
              </a:rPr>
              <a:t>Scal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everything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o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ne</a:t>
            </a: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>
                <a:solidFill>
                  <a:schemeClr val="tx2"/>
                </a:solidFill>
              </a:rPr>
              <a:t>MR – </a:t>
            </a:r>
            <a:r>
              <a:rPr lang="es-AR" sz="1200" dirty="0" err="1">
                <a:solidFill>
                  <a:schemeClr val="tx2"/>
                </a:solidFill>
              </a:rPr>
              <a:t>Whil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sam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amoun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of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ritical</a:t>
            </a:r>
            <a:r>
              <a:rPr lang="es-AR" sz="1200" dirty="0">
                <a:solidFill>
                  <a:schemeClr val="tx2"/>
                </a:solidFill>
              </a:rPr>
              <a:t> material </a:t>
            </a:r>
            <a:r>
              <a:rPr lang="es-AR" sz="1200" dirty="0" err="1">
                <a:solidFill>
                  <a:schemeClr val="tx2"/>
                </a:solidFill>
              </a:rPr>
              <a:t>will</a:t>
            </a:r>
            <a:r>
              <a:rPr lang="es-AR" sz="1200" dirty="0">
                <a:solidFill>
                  <a:schemeClr val="tx2"/>
                </a:solidFill>
              </a:rPr>
              <a:t> produce MORE </a:t>
            </a:r>
            <a:r>
              <a:rPr lang="es-AR" sz="1200" dirty="0" err="1">
                <a:solidFill>
                  <a:schemeClr val="tx2"/>
                </a:solidFill>
              </a:rPr>
              <a:t>clean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echnolog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products</a:t>
            </a:r>
            <a:r>
              <a:rPr lang="es-AR" sz="1200" dirty="0">
                <a:solidFill>
                  <a:schemeClr val="tx2"/>
                </a:solidFill>
              </a:rPr>
              <a:t>, </a:t>
            </a:r>
            <a:r>
              <a:rPr lang="es-AR" sz="1200" dirty="0" err="1">
                <a:solidFill>
                  <a:schemeClr val="tx2"/>
                </a:solidFill>
              </a:rPr>
              <a:t>efficienc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rade-offs</a:t>
            </a:r>
            <a:r>
              <a:rPr lang="es-AR" sz="1200" dirty="0">
                <a:solidFill>
                  <a:schemeClr val="tx2"/>
                </a:solidFill>
              </a:rPr>
              <a:t> mean </a:t>
            </a:r>
            <a:r>
              <a:rPr lang="es-AR" sz="1200" dirty="0" err="1">
                <a:solidFill>
                  <a:schemeClr val="tx2"/>
                </a:solidFill>
              </a:rPr>
              <a:t>that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the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energy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generated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will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not</a:t>
            </a:r>
            <a:r>
              <a:rPr lang="es-AR" sz="1200" dirty="0">
                <a:solidFill>
                  <a:schemeClr val="tx2"/>
                </a:solidFill>
              </a:rPr>
              <a:t> be as </a:t>
            </a:r>
            <a:r>
              <a:rPr lang="es-AR" sz="1200" dirty="0" err="1">
                <a:solidFill>
                  <a:schemeClr val="tx2"/>
                </a:solidFill>
              </a:rPr>
              <a:t>high</a:t>
            </a: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>
                <a:solidFill>
                  <a:schemeClr val="tx2"/>
                </a:solidFill>
              </a:rPr>
              <a:t>UM </a:t>
            </a:r>
            <a:r>
              <a:rPr lang="es-ES" sz="1200" dirty="0">
                <a:solidFill>
                  <a:schemeClr val="tx2"/>
                </a:solidFill>
              </a:rPr>
              <a:t>– Material-to-</a:t>
            </a:r>
            <a:r>
              <a:rPr lang="es-ES" sz="1200" dirty="0" err="1">
                <a:solidFill>
                  <a:schemeClr val="tx2"/>
                </a:solidFill>
              </a:rPr>
              <a:t>energy</a:t>
            </a:r>
            <a:r>
              <a:rPr lang="es-ES" sz="1200" dirty="0">
                <a:solidFill>
                  <a:schemeClr val="tx2"/>
                </a:solidFill>
              </a:rPr>
              <a:t> </a:t>
            </a:r>
            <a:r>
              <a:rPr lang="es-ES" sz="1200" dirty="0" err="1">
                <a:solidFill>
                  <a:schemeClr val="tx2"/>
                </a:solidFill>
              </a:rPr>
              <a:t>efficiency</a:t>
            </a:r>
            <a:r>
              <a:rPr lang="es-ES" sz="1200" dirty="0">
                <a:solidFill>
                  <a:schemeClr val="tx2"/>
                </a:solidFill>
              </a:rPr>
              <a:t> is the </a:t>
            </a:r>
            <a:r>
              <a:rPr lang="es-ES" sz="1200" dirty="0" err="1">
                <a:solidFill>
                  <a:schemeClr val="tx2"/>
                </a:solidFill>
              </a:rPr>
              <a:t>same</a:t>
            </a:r>
            <a:r>
              <a:rPr lang="es-ES" sz="1200" dirty="0">
                <a:solidFill>
                  <a:schemeClr val="tx2"/>
                </a:solidFill>
              </a:rPr>
              <a:t>, </a:t>
            </a:r>
            <a:r>
              <a:rPr lang="es-ES" sz="1200" dirty="0" err="1">
                <a:solidFill>
                  <a:schemeClr val="tx2"/>
                </a:solidFill>
              </a:rPr>
              <a:t>but</a:t>
            </a:r>
            <a:r>
              <a:rPr lang="es-ES" sz="1200" dirty="0">
                <a:solidFill>
                  <a:schemeClr val="tx2"/>
                </a:solidFill>
              </a:rPr>
              <a:t> </a:t>
            </a:r>
            <a:r>
              <a:rPr lang="es-ES" sz="1200" dirty="0" err="1">
                <a:solidFill>
                  <a:schemeClr val="tx2"/>
                </a:solidFill>
              </a:rPr>
              <a:t>additional</a:t>
            </a:r>
            <a:r>
              <a:rPr lang="es-ES" sz="1200" dirty="0">
                <a:solidFill>
                  <a:schemeClr val="tx2"/>
                </a:solidFill>
              </a:rPr>
              <a:t> </a:t>
            </a:r>
            <a:r>
              <a:rPr lang="es-ES" sz="1200" dirty="0" err="1">
                <a:solidFill>
                  <a:schemeClr val="tx2"/>
                </a:solidFill>
              </a:rPr>
              <a:t>supply</a:t>
            </a:r>
            <a:r>
              <a:rPr lang="es-ES" sz="1200" dirty="0">
                <a:solidFill>
                  <a:schemeClr val="tx2"/>
                </a:solidFill>
              </a:rPr>
              <a:t> </a:t>
            </a:r>
            <a:r>
              <a:rPr lang="es-ES" sz="1200" dirty="0" err="1">
                <a:solidFill>
                  <a:schemeClr val="tx2"/>
                </a:solidFill>
              </a:rPr>
              <a:t>from</a:t>
            </a:r>
            <a:r>
              <a:rPr lang="es-ES" sz="1200" dirty="0">
                <a:solidFill>
                  <a:schemeClr val="tx2"/>
                </a:solidFill>
              </a:rPr>
              <a:t> EOL </a:t>
            </a:r>
            <a:r>
              <a:rPr lang="es-ES" sz="1200" dirty="0" err="1">
                <a:solidFill>
                  <a:schemeClr val="tx2"/>
                </a:solidFill>
              </a:rPr>
              <a:t>products</a:t>
            </a: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s-AR" sz="1200" dirty="0">
              <a:solidFill>
                <a:schemeClr val="tx2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AR" sz="1200" dirty="0" err="1">
                <a:solidFill>
                  <a:schemeClr val="tx2"/>
                </a:solidFill>
              </a:rPr>
              <a:t>Main</a:t>
            </a:r>
            <a:r>
              <a:rPr lang="es-AR" sz="1200" dirty="0">
                <a:solidFill>
                  <a:schemeClr val="tx2"/>
                </a:solidFill>
              </a:rPr>
              <a:t> driver </a:t>
            </a:r>
            <a:r>
              <a:rPr lang="es-AR" sz="1200" dirty="0" err="1">
                <a:solidFill>
                  <a:schemeClr val="tx2"/>
                </a:solidFill>
              </a:rPr>
              <a:t>of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r>
              <a:rPr lang="es-AR" sz="1200" dirty="0" err="1">
                <a:solidFill>
                  <a:schemeClr val="tx2"/>
                </a:solidFill>
              </a:rPr>
              <a:t>costs</a:t>
            </a:r>
            <a:r>
              <a:rPr lang="es-AR" sz="1200" dirty="0">
                <a:solidFill>
                  <a:schemeClr val="tx2"/>
                </a:solidFill>
              </a:rPr>
              <a:t> </a:t>
            </a:r>
            <a:endParaRPr lang="en-US" sz="12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carcity increases prices: </a:t>
            </a:r>
            <a:r>
              <a:rPr lang="en-US" dirty="0" err="1"/>
              <a:t>Hotelling</a:t>
            </a:r>
            <a:r>
              <a:rPr lang="en-US" dirty="0"/>
              <a:t> (1931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ochasticity: </a:t>
            </a:r>
            <a:r>
              <a:rPr lang="en-US" dirty="0" err="1"/>
              <a:t>Krautkraemer</a:t>
            </a:r>
            <a:r>
              <a:rPr lang="en-US" dirty="0"/>
              <a:t> (1998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6549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s-ES" dirty="0">
                <a:solidFill>
                  <a:schemeClr val="tx1"/>
                </a:solidFill>
              </a:rPr>
              <a:t>Begin </a:t>
            </a:r>
            <a:r>
              <a:rPr lang="es-ES" dirty="0" err="1">
                <a:solidFill>
                  <a:schemeClr val="tx1"/>
                </a:solidFill>
              </a:rPr>
              <a:t>recap</a:t>
            </a:r>
            <a:r>
              <a:rPr lang="es-ES" dirty="0">
                <a:solidFill>
                  <a:schemeClr val="tx1"/>
                </a:solidFill>
              </a:rPr>
              <a:t>: 1- </a:t>
            </a:r>
            <a:r>
              <a:rPr lang="es-ES" dirty="0" err="1">
                <a:solidFill>
                  <a:schemeClr val="tx1"/>
                </a:solidFill>
              </a:rPr>
              <a:t>Scarcity</a:t>
            </a:r>
            <a:r>
              <a:rPr lang="es-ES" dirty="0">
                <a:solidFill>
                  <a:schemeClr val="tx1"/>
                </a:solidFill>
              </a:rPr>
              <a:t> is </a:t>
            </a:r>
            <a:r>
              <a:rPr lang="es-ES" dirty="0" err="1">
                <a:solidFill>
                  <a:schemeClr val="tx1"/>
                </a:solidFill>
              </a:rPr>
              <a:t>coming</a:t>
            </a:r>
            <a:r>
              <a:rPr lang="es-ES" dirty="0">
                <a:solidFill>
                  <a:schemeClr val="tx1"/>
                </a:solidFill>
              </a:rPr>
              <a:t> at </a:t>
            </a:r>
            <a:r>
              <a:rPr lang="es-ES" dirty="0" err="1">
                <a:solidFill>
                  <a:schemeClr val="tx1"/>
                </a:solidFill>
              </a:rPr>
              <a:t>us</a:t>
            </a:r>
            <a:r>
              <a:rPr lang="es-ES" dirty="0">
                <a:solidFill>
                  <a:schemeClr val="tx1"/>
                </a:solidFill>
              </a:rPr>
              <a:t>, 2- </a:t>
            </a:r>
            <a:r>
              <a:rPr lang="es-ES" dirty="0" err="1">
                <a:solidFill>
                  <a:schemeClr val="tx1"/>
                </a:solidFill>
              </a:rPr>
              <a:t>Discussed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options</a:t>
            </a:r>
            <a:r>
              <a:rPr lang="es-ES" dirty="0">
                <a:solidFill>
                  <a:schemeClr val="tx1"/>
                </a:solidFill>
              </a:rPr>
              <a:t>, 3- </a:t>
            </a:r>
            <a:r>
              <a:rPr lang="es-ES" dirty="0" err="1">
                <a:solidFill>
                  <a:schemeClr val="tx1"/>
                </a:solidFill>
              </a:rPr>
              <a:t>Model</a:t>
            </a:r>
            <a:r>
              <a:rPr lang="es-ES" dirty="0">
                <a:solidFill>
                  <a:schemeClr val="tx1"/>
                </a:solidFill>
              </a:rPr>
              <a:t> set-up 4-Results </a:t>
            </a:r>
            <a:r>
              <a:rPr lang="es-ES" dirty="0" err="1">
                <a:solidFill>
                  <a:schemeClr val="tx1"/>
                </a:solidFill>
              </a:rPr>
              <a:t>let’s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go</a:t>
            </a:r>
            <a:endParaRPr lang="es-ES" dirty="0">
              <a:solidFill>
                <a:schemeClr val="tx1"/>
              </a:solidFill>
            </a:endParaRPr>
          </a:p>
          <a:p>
            <a:pPr algn="l"/>
            <a:r>
              <a:rPr lang="es-ES" dirty="0" err="1">
                <a:solidFill>
                  <a:schemeClr val="tx1"/>
                </a:solidFill>
              </a:rPr>
              <a:t>End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recap</a:t>
            </a:r>
            <a:r>
              <a:rPr lang="es-ES" dirty="0">
                <a:solidFill>
                  <a:schemeClr val="tx1"/>
                </a:solidFill>
              </a:rPr>
              <a:t>: </a:t>
            </a:r>
            <a:r>
              <a:rPr lang="es-ES" dirty="0" err="1">
                <a:solidFill>
                  <a:schemeClr val="tx1"/>
                </a:solidFill>
              </a:rPr>
              <a:t>Other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words</a:t>
            </a:r>
            <a:r>
              <a:rPr lang="es-ES" dirty="0">
                <a:solidFill>
                  <a:schemeClr val="tx1"/>
                </a:solidFill>
              </a:rPr>
              <a:t>: </a:t>
            </a:r>
            <a:r>
              <a:rPr lang="es-ES" dirty="0" err="1">
                <a:solidFill>
                  <a:schemeClr val="tx1"/>
                </a:solidFill>
              </a:rPr>
              <a:t>both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trategies</a:t>
            </a:r>
            <a:r>
              <a:rPr lang="es-ES" dirty="0">
                <a:solidFill>
                  <a:schemeClr val="tx1"/>
                </a:solidFill>
              </a:rPr>
              <a:t> are </a:t>
            </a:r>
            <a:r>
              <a:rPr lang="es-ES" dirty="0" err="1">
                <a:solidFill>
                  <a:schemeClr val="tx1"/>
                </a:solidFill>
              </a:rPr>
              <a:t>effective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but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for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different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reasons</a:t>
            </a:r>
            <a:r>
              <a:rPr lang="es-ES" dirty="0">
                <a:solidFill>
                  <a:schemeClr val="tx1"/>
                </a:solidFill>
              </a:rPr>
              <a:t>: MR </a:t>
            </a:r>
            <a:r>
              <a:rPr lang="es-ES" dirty="0" err="1">
                <a:solidFill>
                  <a:schemeClr val="tx1"/>
                </a:solidFill>
              </a:rPr>
              <a:t>increases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consumptio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because</a:t>
            </a:r>
            <a:r>
              <a:rPr lang="es-ES" dirty="0">
                <a:solidFill>
                  <a:schemeClr val="tx1"/>
                </a:solidFill>
              </a:rPr>
              <a:t> on </a:t>
            </a:r>
            <a:r>
              <a:rPr lang="es-ES" dirty="0" err="1">
                <a:solidFill>
                  <a:schemeClr val="tx1"/>
                </a:solidFill>
              </a:rPr>
              <a:t>expectatio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margins</a:t>
            </a:r>
            <a:r>
              <a:rPr lang="es-ES" dirty="0">
                <a:solidFill>
                  <a:schemeClr val="tx1"/>
                </a:solidFill>
              </a:rPr>
              <a:t> are </a:t>
            </a:r>
            <a:r>
              <a:rPr lang="es-ES" dirty="0" err="1">
                <a:solidFill>
                  <a:schemeClr val="tx1"/>
                </a:solidFill>
              </a:rPr>
              <a:t>larger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which</a:t>
            </a:r>
            <a:r>
              <a:rPr lang="es-ES" dirty="0">
                <a:solidFill>
                  <a:schemeClr val="tx1"/>
                </a:solidFill>
              </a:rPr>
              <a:t> leads to </a:t>
            </a:r>
            <a:r>
              <a:rPr lang="es-ES" dirty="0" err="1">
                <a:solidFill>
                  <a:schemeClr val="tx1"/>
                </a:solidFill>
              </a:rPr>
              <a:t>higher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virgi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consumptio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but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then</a:t>
            </a:r>
            <a:r>
              <a:rPr lang="es-ES" dirty="0">
                <a:solidFill>
                  <a:schemeClr val="tx1"/>
                </a:solidFill>
              </a:rPr>
              <a:t> more </a:t>
            </a:r>
            <a:r>
              <a:rPr lang="es-ES" dirty="0" err="1">
                <a:solidFill>
                  <a:schemeClr val="tx1"/>
                </a:solidFill>
              </a:rPr>
              <a:t>vulnerability</a:t>
            </a:r>
            <a:r>
              <a:rPr lang="es-ES" dirty="0">
                <a:solidFill>
                  <a:schemeClr val="tx1"/>
                </a:solidFill>
              </a:rPr>
              <a:t>/</a:t>
            </a:r>
            <a:r>
              <a:rPr lang="es-ES" dirty="0" err="1">
                <a:solidFill>
                  <a:schemeClr val="tx1"/>
                </a:solidFill>
              </a:rPr>
              <a:t>dependency</a:t>
            </a:r>
            <a:r>
              <a:rPr lang="es-ES" dirty="0">
                <a:solidFill>
                  <a:schemeClr val="tx1"/>
                </a:solidFill>
              </a:rPr>
              <a:t> to </a:t>
            </a:r>
            <a:r>
              <a:rPr lang="es-ES" dirty="0" err="1">
                <a:solidFill>
                  <a:schemeClr val="tx1"/>
                </a:solidFill>
              </a:rPr>
              <a:t>stochasticity</a:t>
            </a:r>
            <a:r>
              <a:rPr lang="es-ES" dirty="0">
                <a:solidFill>
                  <a:schemeClr val="tx1"/>
                </a:solidFill>
              </a:rPr>
              <a:t> in </a:t>
            </a:r>
            <a:r>
              <a:rPr lang="es-ES" dirty="0" err="1">
                <a:solidFill>
                  <a:schemeClr val="tx1"/>
                </a:solidFill>
              </a:rPr>
              <a:t>prices</a:t>
            </a:r>
            <a:r>
              <a:rPr lang="es-ES" dirty="0">
                <a:solidFill>
                  <a:schemeClr val="tx1"/>
                </a:solidFill>
              </a:rPr>
              <a:t>. On the </a:t>
            </a:r>
            <a:r>
              <a:rPr lang="es-ES" dirty="0" err="1">
                <a:solidFill>
                  <a:schemeClr val="tx1"/>
                </a:solidFill>
              </a:rPr>
              <a:t>other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hand</a:t>
            </a:r>
            <a:r>
              <a:rPr lang="es-ES" dirty="0">
                <a:solidFill>
                  <a:schemeClr val="tx1"/>
                </a:solidFill>
              </a:rPr>
              <a:t>, recycling the </a:t>
            </a:r>
            <a:r>
              <a:rPr lang="es-ES" dirty="0" err="1">
                <a:solidFill>
                  <a:schemeClr val="tx1"/>
                </a:solidFill>
              </a:rPr>
              <a:t>materials</a:t>
            </a:r>
            <a:r>
              <a:rPr lang="es-ES" dirty="0">
                <a:solidFill>
                  <a:schemeClr val="tx1"/>
                </a:solidFill>
              </a:rPr>
              <a:t> can be </a:t>
            </a:r>
            <a:r>
              <a:rPr lang="es-ES" dirty="0" err="1">
                <a:solidFill>
                  <a:schemeClr val="tx1"/>
                </a:solidFill>
              </a:rPr>
              <a:t>seen</a:t>
            </a:r>
            <a:r>
              <a:rPr lang="es-ES" dirty="0">
                <a:solidFill>
                  <a:schemeClr val="tx1"/>
                </a:solidFill>
              </a:rPr>
              <a:t> as a real </a:t>
            </a:r>
            <a:r>
              <a:rPr lang="es-ES" dirty="0" err="1">
                <a:solidFill>
                  <a:schemeClr val="tx1"/>
                </a:solidFill>
              </a:rPr>
              <a:t>optio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because</a:t>
            </a:r>
            <a:r>
              <a:rPr lang="es-ES" dirty="0">
                <a:solidFill>
                  <a:schemeClr val="tx1"/>
                </a:solidFill>
              </a:rPr>
              <a:t> the </a:t>
            </a:r>
            <a:r>
              <a:rPr lang="es-ES" dirty="0" err="1">
                <a:solidFill>
                  <a:schemeClr val="tx1"/>
                </a:solidFill>
              </a:rPr>
              <a:t>producer</a:t>
            </a:r>
            <a:r>
              <a:rPr lang="es-ES" dirty="0">
                <a:solidFill>
                  <a:schemeClr val="tx1"/>
                </a:solidFill>
              </a:rPr>
              <a:t> is </a:t>
            </a:r>
            <a:r>
              <a:rPr lang="es-ES" dirty="0" err="1">
                <a:solidFill>
                  <a:schemeClr val="tx1"/>
                </a:solidFill>
              </a:rPr>
              <a:t>able</a:t>
            </a:r>
            <a:r>
              <a:rPr lang="es-ES" dirty="0">
                <a:solidFill>
                  <a:schemeClr val="tx1"/>
                </a:solidFill>
              </a:rPr>
              <a:t> to </a:t>
            </a:r>
            <a:r>
              <a:rPr lang="es-ES" dirty="0" err="1">
                <a:solidFill>
                  <a:schemeClr val="tx1"/>
                </a:solidFill>
              </a:rPr>
              <a:t>hedge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between</a:t>
            </a:r>
            <a:r>
              <a:rPr lang="es-ES" dirty="0">
                <a:solidFill>
                  <a:schemeClr val="tx1"/>
                </a:solidFill>
              </a:rPr>
              <a:t> the </a:t>
            </a:r>
            <a:r>
              <a:rPr lang="es-ES" dirty="0" err="1">
                <a:solidFill>
                  <a:schemeClr val="tx1"/>
                </a:solidFill>
              </a:rPr>
              <a:t>risky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virgin</a:t>
            </a:r>
            <a:r>
              <a:rPr lang="es-ES" dirty="0">
                <a:solidFill>
                  <a:schemeClr val="tx1"/>
                </a:solidFill>
              </a:rPr>
              <a:t> material and a </a:t>
            </a:r>
            <a:r>
              <a:rPr lang="es-ES" dirty="0" err="1">
                <a:solidFill>
                  <a:schemeClr val="tx1"/>
                </a:solidFill>
              </a:rPr>
              <a:t>reliable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upply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of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econdary</a:t>
            </a:r>
            <a:r>
              <a:rPr lang="es-ES" dirty="0">
                <a:solidFill>
                  <a:schemeClr val="tx1"/>
                </a:solidFill>
              </a:rPr>
              <a:t> material (as </a:t>
            </a:r>
            <a:r>
              <a:rPr lang="es-ES" dirty="0" err="1">
                <a:solidFill>
                  <a:schemeClr val="tx1"/>
                </a:solidFill>
              </a:rPr>
              <a:t>long</a:t>
            </a:r>
            <a:r>
              <a:rPr lang="es-ES" dirty="0">
                <a:solidFill>
                  <a:schemeClr val="tx1"/>
                </a:solidFill>
              </a:rPr>
              <a:t> as </a:t>
            </a:r>
            <a:r>
              <a:rPr lang="es-ES" dirty="0" err="1">
                <a:solidFill>
                  <a:schemeClr val="tx1"/>
                </a:solidFill>
              </a:rPr>
              <a:t>access</a:t>
            </a:r>
            <a:r>
              <a:rPr lang="es-ES" dirty="0">
                <a:solidFill>
                  <a:schemeClr val="tx1"/>
                </a:solidFill>
              </a:rPr>
              <a:t> is </a:t>
            </a:r>
            <a:r>
              <a:rPr lang="es-ES" dirty="0" err="1">
                <a:solidFill>
                  <a:schemeClr val="tx1"/>
                </a:solidFill>
              </a:rPr>
              <a:t>available</a:t>
            </a:r>
            <a:r>
              <a:rPr lang="es-ES" dirty="0">
                <a:solidFill>
                  <a:schemeClr val="tx1"/>
                </a:solidFill>
              </a:rPr>
              <a:t>)</a:t>
            </a:r>
          </a:p>
          <a:p>
            <a:pPr algn="l"/>
            <a:r>
              <a:rPr lang="es-ES" dirty="0">
                <a:solidFill>
                  <a:schemeClr val="tx1"/>
                </a:solidFill>
              </a:rPr>
              <a:t>“Can </a:t>
            </a:r>
            <a:r>
              <a:rPr lang="es-ES" dirty="0" err="1">
                <a:solidFill>
                  <a:schemeClr val="tx1"/>
                </a:solidFill>
              </a:rPr>
              <a:t>see</a:t>
            </a:r>
            <a:r>
              <a:rPr lang="es-ES" dirty="0">
                <a:solidFill>
                  <a:schemeClr val="tx1"/>
                </a:solidFill>
              </a:rPr>
              <a:t> recycling as a real </a:t>
            </a:r>
            <a:r>
              <a:rPr lang="es-ES" dirty="0" err="1">
                <a:solidFill>
                  <a:schemeClr val="tx1"/>
                </a:solidFill>
              </a:rPr>
              <a:t>option</a:t>
            </a:r>
            <a:r>
              <a:rPr lang="es-ES" dirty="0">
                <a:solidFill>
                  <a:schemeClr val="tx1"/>
                </a:solidFill>
              </a:rPr>
              <a:t>”</a:t>
            </a:r>
          </a:p>
          <a:p>
            <a:pPr algn="l"/>
            <a:endParaRPr lang="es-ES" dirty="0">
              <a:solidFill>
                <a:schemeClr val="tx1"/>
              </a:solidFill>
            </a:endParaRPr>
          </a:p>
          <a:p>
            <a:pPr algn="l"/>
            <a:r>
              <a:rPr lang="es-ES" dirty="0">
                <a:solidFill>
                  <a:schemeClr val="tx1"/>
                </a:solidFill>
              </a:rPr>
              <a:t>Compare the </a:t>
            </a:r>
            <a:r>
              <a:rPr lang="es-ES" dirty="0" err="1">
                <a:solidFill>
                  <a:schemeClr val="tx1"/>
                </a:solidFill>
              </a:rPr>
              <a:t>outcomes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of</a:t>
            </a:r>
            <a:r>
              <a:rPr lang="es-ES" dirty="0">
                <a:solidFill>
                  <a:schemeClr val="tx1"/>
                </a:solidFill>
              </a:rPr>
              <a:t> the </a:t>
            </a:r>
            <a:r>
              <a:rPr lang="es-ES" dirty="0" err="1">
                <a:solidFill>
                  <a:schemeClr val="tx1"/>
                </a:solidFill>
              </a:rPr>
              <a:t>two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investment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trategies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with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benchmark</a:t>
            </a:r>
            <a:r>
              <a:rPr lang="es-ES" dirty="0">
                <a:solidFill>
                  <a:schemeClr val="tx1"/>
                </a:solidFill>
              </a:rPr>
              <a:t> (</a:t>
            </a:r>
            <a:r>
              <a:rPr lang="es-ES" dirty="0" err="1">
                <a:solidFill>
                  <a:schemeClr val="tx1"/>
                </a:solidFill>
              </a:rPr>
              <a:t>where</a:t>
            </a:r>
            <a:r>
              <a:rPr lang="es-ES" dirty="0">
                <a:solidFill>
                  <a:schemeClr val="tx1"/>
                </a:solidFill>
              </a:rPr>
              <a:t> the </a:t>
            </a:r>
            <a:r>
              <a:rPr lang="es-ES" dirty="0" err="1">
                <a:solidFill>
                  <a:schemeClr val="tx1"/>
                </a:solidFill>
              </a:rPr>
              <a:t>producer</a:t>
            </a:r>
            <a:r>
              <a:rPr lang="es-ES" dirty="0">
                <a:solidFill>
                  <a:schemeClr val="tx1"/>
                </a:solidFill>
              </a:rPr>
              <a:t> is </a:t>
            </a:r>
            <a:r>
              <a:rPr lang="es-ES" dirty="0" err="1">
                <a:solidFill>
                  <a:schemeClr val="tx1"/>
                </a:solidFill>
              </a:rPr>
              <a:t>choosing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optimally</a:t>
            </a:r>
            <a:r>
              <a:rPr lang="es-ES" dirty="0">
                <a:solidFill>
                  <a:schemeClr val="tx1"/>
                </a:solidFill>
              </a:rPr>
              <a:t>) on the </a:t>
            </a:r>
            <a:r>
              <a:rPr lang="es-ES" dirty="0" err="1">
                <a:solidFill>
                  <a:schemeClr val="tx1"/>
                </a:solidFill>
              </a:rPr>
              <a:t>two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dimentions</a:t>
            </a:r>
            <a:r>
              <a:rPr lang="es-ES" dirty="0">
                <a:solidFill>
                  <a:schemeClr val="tx1"/>
                </a:solidFill>
              </a:rPr>
              <a:t> that the </a:t>
            </a:r>
            <a:r>
              <a:rPr lang="es-ES" dirty="0" err="1">
                <a:solidFill>
                  <a:schemeClr val="tx1"/>
                </a:solidFill>
              </a:rPr>
              <a:t>policymaker</a:t>
            </a:r>
            <a:r>
              <a:rPr lang="es-ES" dirty="0">
                <a:solidFill>
                  <a:schemeClr val="tx1"/>
                </a:solidFill>
              </a:rPr>
              <a:t> cares about</a:t>
            </a:r>
          </a:p>
          <a:p>
            <a:pPr algn="l"/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/>
              <a:t>Recbound</a:t>
            </a:r>
            <a:r>
              <a:rPr lang="en-US" dirty="0"/>
              <a:t> effects occur when a technological progress increases the efficiency of use of a resource, which reduces its cost of usage, which increases the demand and thus the overall resource use</a:t>
            </a:r>
          </a:p>
          <a:p>
            <a:endParaRPr lang="en-US" dirty="0"/>
          </a:p>
          <a:p>
            <a:r>
              <a:rPr lang="en-US" dirty="0"/>
              <a:t>What about MR vs UM? Which one is preferrabl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015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As </a:t>
            </a:r>
            <a:r>
              <a:rPr lang="es-ES" dirty="0" err="1"/>
              <a:t>opposed</a:t>
            </a:r>
            <a:r>
              <a:rPr lang="es-ES" dirty="0"/>
              <a:t> to </a:t>
            </a:r>
            <a:r>
              <a:rPr lang="es-ES" dirty="0" err="1"/>
              <a:t>telling</a:t>
            </a:r>
            <a:r>
              <a:rPr lang="es-ES" dirty="0"/>
              <a:t> </a:t>
            </a:r>
            <a:r>
              <a:rPr lang="es-ES" dirty="0" err="1"/>
              <a:t>you</a:t>
            </a:r>
            <a:r>
              <a:rPr lang="es-ES" dirty="0"/>
              <a:t> </a:t>
            </a:r>
            <a:r>
              <a:rPr lang="es-ES" dirty="0" err="1"/>
              <a:t>when</a:t>
            </a:r>
            <a:r>
              <a:rPr lang="es-ES" dirty="0"/>
              <a:t> this </a:t>
            </a:r>
            <a:r>
              <a:rPr lang="es-ES" dirty="0" err="1"/>
              <a:t>or</a:t>
            </a:r>
            <a:r>
              <a:rPr lang="es-ES" dirty="0"/>
              <a:t> that </a:t>
            </a:r>
            <a:r>
              <a:rPr lang="es-ES" dirty="0" err="1"/>
              <a:t>happens</a:t>
            </a:r>
            <a:r>
              <a:rPr lang="es-ES" dirty="0"/>
              <a:t>, </a:t>
            </a:r>
            <a:r>
              <a:rPr lang="es-ES" dirty="0" err="1"/>
              <a:t>let</a:t>
            </a:r>
            <a:r>
              <a:rPr lang="es-ES" dirty="0"/>
              <a:t> me </a:t>
            </a:r>
            <a:r>
              <a:rPr lang="es-ES" dirty="0" err="1"/>
              <a:t>tell</a:t>
            </a:r>
            <a:r>
              <a:rPr lang="es-ES" dirty="0"/>
              <a:t> </a:t>
            </a:r>
            <a:r>
              <a:rPr lang="es-ES" dirty="0" err="1"/>
              <a:t>you</a:t>
            </a:r>
            <a:r>
              <a:rPr lang="es-ES" dirty="0"/>
              <a:t> what are the </a:t>
            </a:r>
            <a:r>
              <a:rPr lang="es-ES" dirty="0" err="1"/>
              <a:t>practical</a:t>
            </a:r>
            <a:r>
              <a:rPr lang="es-ES" dirty="0"/>
              <a:t> </a:t>
            </a:r>
            <a:r>
              <a:rPr lang="es-ES" dirty="0" err="1"/>
              <a:t>implication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this </a:t>
            </a:r>
            <a:r>
              <a:rPr lang="es-ES" dirty="0" err="1"/>
              <a:t>plot</a:t>
            </a:r>
            <a:r>
              <a:rPr lang="es-ES" dirty="0"/>
              <a:t>.</a:t>
            </a:r>
          </a:p>
          <a:p>
            <a:pPr marL="171450" indent="-171450">
              <a:buFontTx/>
              <a:buChar char="-"/>
            </a:pPr>
            <a:r>
              <a:rPr lang="es-ES" dirty="0" err="1"/>
              <a:t>Scientific</a:t>
            </a:r>
            <a:r>
              <a:rPr lang="es-ES" dirty="0"/>
              <a:t> </a:t>
            </a:r>
            <a:r>
              <a:rPr lang="es-ES" dirty="0" err="1"/>
              <a:t>community</a:t>
            </a:r>
            <a:r>
              <a:rPr lang="es-ES" dirty="0"/>
              <a:t> </a:t>
            </a:r>
            <a:r>
              <a:rPr lang="es-ES" dirty="0" err="1"/>
              <a:t>warning</a:t>
            </a:r>
            <a:r>
              <a:rPr lang="es-ES" dirty="0"/>
              <a:t> about the </a:t>
            </a:r>
            <a:r>
              <a:rPr lang="es-ES" dirty="0" err="1"/>
              <a:t>imbalanc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supply</a:t>
            </a:r>
            <a:r>
              <a:rPr lang="es-ES" dirty="0"/>
              <a:t> and </a:t>
            </a:r>
            <a:r>
              <a:rPr lang="es-ES" dirty="0" err="1"/>
              <a:t>demand</a:t>
            </a:r>
            <a:r>
              <a:rPr lang="es-ES" dirty="0"/>
              <a:t> -&gt; </a:t>
            </a:r>
            <a:r>
              <a:rPr lang="es-ES" dirty="0" err="1"/>
              <a:t>Need</a:t>
            </a:r>
            <a:r>
              <a:rPr lang="es-ES" dirty="0"/>
              <a:t> to prepare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much</a:t>
            </a:r>
            <a:r>
              <a:rPr lang="es-ES" dirty="0"/>
              <a:t> </a:t>
            </a:r>
            <a:r>
              <a:rPr lang="es-ES" dirty="0" err="1"/>
              <a:t>higher</a:t>
            </a:r>
            <a:r>
              <a:rPr lang="es-ES" dirty="0"/>
              <a:t> </a:t>
            </a:r>
            <a:r>
              <a:rPr lang="es-ES" dirty="0" err="1"/>
              <a:t>scarcity</a:t>
            </a:r>
            <a:endParaRPr lang="es-ES" dirty="0"/>
          </a:p>
          <a:p>
            <a:pPr marL="171450" indent="-171450">
              <a:buFontTx/>
              <a:buChar char="-"/>
            </a:pPr>
            <a:r>
              <a:rPr lang="es-ES" dirty="0" err="1"/>
              <a:t>Europ</a:t>
            </a:r>
            <a:r>
              <a:rPr lang="es-ES" dirty="0"/>
              <a:t> </a:t>
            </a:r>
            <a:r>
              <a:rPr lang="es-ES" dirty="0" err="1"/>
              <a:t>Comission</a:t>
            </a:r>
            <a:r>
              <a:rPr lang="es-ES" dirty="0"/>
              <a:t>, IEA </a:t>
            </a:r>
            <a:r>
              <a:rPr lang="es-ES" dirty="0" err="1"/>
              <a:t>talking</a:t>
            </a:r>
            <a:r>
              <a:rPr lang="es-ES" dirty="0"/>
              <a:t> about MR</a:t>
            </a:r>
          </a:p>
          <a:p>
            <a:pPr marL="171450" indent="-171450">
              <a:buFontTx/>
              <a:buChar char="-"/>
            </a:pPr>
            <a:r>
              <a:rPr lang="es-ES" dirty="0"/>
              <a:t>Should be </a:t>
            </a:r>
            <a:r>
              <a:rPr lang="es-ES" dirty="0" err="1"/>
              <a:t>focusing</a:t>
            </a:r>
            <a:r>
              <a:rPr lang="es-ES" dirty="0"/>
              <a:t> on UM -&gt; </a:t>
            </a:r>
            <a:r>
              <a:rPr lang="es-ES" dirty="0" err="1"/>
              <a:t>Better</a:t>
            </a:r>
            <a:r>
              <a:rPr lang="es-ES" dirty="0"/>
              <a:t> in </a:t>
            </a:r>
            <a:r>
              <a:rPr lang="es-ES" dirty="0" err="1"/>
              <a:t>high</a:t>
            </a:r>
            <a:r>
              <a:rPr lang="es-ES" dirty="0"/>
              <a:t> </a:t>
            </a:r>
            <a:r>
              <a:rPr lang="es-ES" dirty="0" err="1"/>
              <a:t>scarcity</a:t>
            </a:r>
            <a:r>
              <a:rPr lang="es-ES" dirty="0"/>
              <a:t>, </a:t>
            </a:r>
            <a:r>
              <a:rPr lang="es-ES" dirty="0" err="1"/>
              <a:t>also</a:t>
            </a:r>
            <a:r>
              <a:rPr lang="es-ES" dirty="0"/>
              <a:t> </a:t>
            </a:r>
            <a:r>
              <a:rPr lang="es-ES" dirty="0" err="1"/>
              <a:t>better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securi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supply</a:t>
            </a:r>
            <a:r>
              <a:rPr lang="es-ES" dirty="0"/>
              <a:t> -&gt; SUPER </a:t>
            </a:r>
            <a:r>
              <a:rPr lang="es-ES" dirty="0" err="1"/>
              <a:t>expensive</a:t>
            </a:r>
            <a:r>
              <a:rPr lang="es-ES" dirty="0"/>
              <a:t> + </a:t>
            </a:r>
            <a:r>
              <a:rPr lang="es-ES" dirty="0" err="1"/>
              <a:t>Requires</a:t>
            </a:r>
            <a:r>
              <a:rPr lang="es-ES" dirty="0"/>
              <a:t> </a:t>
            </a:r>
            <a:r>
              <a:rPr lang="es-ES" dirty="0" err="1"/>
              <a:t>access</a:t>
            </a:r>
            <a:r>
              <a:rPr lang="es-ES" dirty="0"/>
              <a:t> -&gt; Should be </a:t>
            </a:r>
            <a:r>
              <a:rPr lang="es-ES" dirty="0" err="1"/>
              <a:t>sponsoring</a:t>
            </a:r>
            <a:r>
              <a:rPr lang="es-ES" dirty="0"/>
              <a:t> </a:t>
            </a:r>
            <a:r>
              <a:rPr lang="es-ES" dirty="0" err="1"/>
              <a:t>collection</a:t>
            </a:r>
            <a:r>
              <a:rPr lang="es-ES" dirty="0"/>
              <a:t> </a:t>
            </a:r>
            <a:r>
              <a:rPr lang="es-ES" dirty="0" err="1"/>
              <a:t>infrastru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210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Scientific community warning about critical materials as a roadblock. </a:t>
            </a:r>
            <a:r>
              <a:rPr lang="es-ES" dirty="0">
                <a:solidFill>
                  <a:schemeClr val="tx1"/>
                </a:solidFill>
              </a:rPr>
              <a:t>This problem has not </a:t>
            </a:r>
            <a:r>
              <a:rPr lang="es-ES" dirty="0" err="1">
                <a:solidFill>
                  <a:schemeClr val="tx1"/>
                </a:solidFill>
              </a:rPr>
              <a:t>been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eriously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considered</a:t>
            </a:r>
            <a:r>
              <a:rPr lang="es-ES" dirty="0">
                <a:solidFill>
                  <a:schemeClr val="tx1"/>
                </a:solidFill>
              </a:rPr>
              <a:t> in OM, </a:t>
            </a:r>
            <a:r>
              <a:rPr lang="es-ES" dirty="0" err="1">
                <a:solidFill>
                  <a:schemeClr val="tx1"/>
                </a:solidFill>
              </a:rPr>
              <a:t>clearly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critical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with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strategic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impact</a:t>
            </a:r>
            <a:r>
              <a:rPr lang="es-ES" dirty="0">
                <a:solidFill>
                  <a:schemeClr val="tx1"/>
                </a:solidFill>
              </a:rPr>
              <a:t> (</a:t>
            </a:r>
            <a:r>
              <a:rPr lang="es-ES" dirty="0" err="1">
                <a:solidFill>
                  <a:schemeClr val="tx1"/>
                </a:solidFill>
              </a:rPr>
              <a:t>policymaker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env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perspective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producer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perspective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etc</a:t>
            </a:r>
            <a:r>
              <a:rPr lang="es-ES" dirty="0">
                <a:solidFill>
                  <a:schemeClr val="tx1"/>
                </a:solidFill>
              </a:rPr>
              <a:t>).This is </a:t>
            </a:r>
            <a:r>
              <a:rPr lang="es-ES" dirty="0" err="1">
                <a:solidFill>
                  <a:schemeClr val="tx1"/>
                </a:solidFill>
              </a:rPr>
              <a:t>only</a:t>
            </a:r>
            <a:r>
              <a:rPr lang="es-ES" dirty="0">
                <a:solidFill>
                  <a:schemeClr val="tx1"/>
                </a:solidFill>
              </a:rPr>
              <a:t> the first </a:t>
            </a:r>
            <a:r>
              <a:rPr lang="es-ES" dirty="0" err="1">
                <a:solidFill>
                  <a:schemeClr val="tx1"/>
                </a:solidFill>
              </a:rPr>
              <a:t>attempt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our</a:t>
            </a:r>
            <a:r>
              <a:rPr lang="es-ES" dirty="0">
                <a:solidFill>
                  <a:schemeClr val="tx1"/>
                </a:solidFill>
              </a:rPr>
              <a:t> discipline can </a:t>
            </a:r>
            <a:r>
              <a:rPr lang="es-ES" dirty="0" err="1">
                <a:solidFill>
                  <a:schemeClr val="tx1"/>
                </a:solidFill>
              </a:rPr>
              <a:t>provide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operational</a:t>
            </a:r>
            <a:r>
              <a:rPr lang="es-ES" dirty="0">
                <a:solidFill>
                  <a:schemeClr val="tx1"/>
                </a:solidFill>
              </a:rPr>
              <a:t> </a:t>
            </a:r>
            <a:r>
              <a:rPr lang="es-ES" dirty="0" err="1">
                <a:solidFill>
                  <a:schemeClr val="tx1"/>
                </a:solidFill>
              </a:rPr>
              <a:t>insights</a:t>
            </a:r>
            <a:r>
              <a:rPr lang="es-ES" dirty="0">
                <a:solidFill>
                  <a:schemeClr val="tx1"/>
                </a:solidFill>
              </a:rPr>
              <a:t> in this </a:t>
            </a:r>
            <a:r>
              <a:rPr lang="es-ES" dirty="0" err="1">
                <a:solidFill>
                  <a:schemeClr val="tx1"/>
                </a:solidFill>
              </a:rPr>
              <a:t>topic</a:t>
            </a:r>
            <a:endParaRPr lang="en-US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tx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In fact, until recently, this subject was not considered critical  in policy either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 the Paris Agreement from 2015 did not have </a:t>
            </a:r>
            <a:r>
              <a:rPr lang="en-US" i="1" dirty="0">
                <a:solidFill>
                  <a:schemeClr val="tx1"/>
                </a:solidFill>
                <a:sym typeface="Wingdings" panose="05000000000000000000" pitchFamily="2" charset="2"/>
              </a:rPr>
              <a:t>any </a:t>
            </a:r>
            <a:r>
              <a:rPr lang="en-US" dirty="0">
                <a:solidFill>
                  <a:schemeClr val="tx1"/>
                </a:solidFill>
                <a:sym typeface="Wingdings" panose="05000000000000000000" pitchFamily="2" charset="2"/>
              </a:rPr>
              <a:t>mention of metals/minerals/commodities, while today governments and institutions are discussing it intensively</a:t>
            </a: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aterial Reduction as a strategy might maintain installations bu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Might worsen the scarcity situ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s riski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</a:rPr>
              <a:t>Urban Mining as a strategy requires strong community contribution to get access to EOL produc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C64486-0088-49CB-85C5-F63BC4521F5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126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7728" y="2376000"/>
            <a:ext cx="6120000" cy="1226037"/>
          </a:xfrm>
        </p:spPr>
        <p:txBody>
          <a:bodyPr anchor="t" anchorCtr="0"/>
          <a:lstStyle>
            <a:lvl1pPr algn="l">
              <a:defRPr sz="4000">
                <a:solidFill>
                  <a:srgbClr val="0068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7728" y="4104000"/>
            <a:ext cx="6120000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00684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name of presenter/author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800" y="460800"/>
            <a:ext cx="2763720" cy="1296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7E90FE8-F7B8-417C-9B01-B523EE9685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7728" y="4572000"/>
            <a:ext cx="4114800" cy="26264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>
                <a:solidFill>
                  <a:srgbClr val="019F6E"/>
                </a:solidFill>
              </a:defRPr>
            </a:lvl1pPr>
            <a:lvl2pPr marL="0" indent="0">
              <a:buNone/>
              <a:defRPr sz="1400">
                <a:solidFill>
                  <a:srgbClr val="019F6E"/>
                </a:solidFill>
              </a:defRPr>
            </a:lvl2pPr>
            <a:lvl3pPr marL="0" indent="0">
              <a:buNone/>
              <a:defRPr sz="1400">
                <a:solidFill>
                  <a:srgbClr val="A8D4B3"/>
                </a:solidFill>
              </a:defRPr>
            </a:lvl3pPr>
            <a:lvl4pPr marL="0" indent="0">
              <a:buNone/>
              <a:defRPr sz="1400">
                <a:solidFill>
                  <a:srgbClr val="A8D4B3"/>
                </a:solidFill>
              </a:defRPr>
            </a:lvl4pPr>
            <a:lvl5pPr marL="0" indent="0">
              <a:buNone/>
              <a:defRPr sz="1400">
                <a:solidFill>
                  <a:srgbClr val="A8D4B3"/>
                </a:solidFill>
              </a:defRPr>
            </a:lvl5pPr>
          </a:lstStyle>
          <a:p>
            <a:pPr lvl="0"/>
            <a:r>
              <a:rPr lang="en-US" dirty="0"/>
              <a:t>Click to add date</a:t>
            </a:r>
          </a:p>
          <a:p>
            <a:pPr lvl="1"/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C85E1B6-1F6E-4B9C-A46C-6AA04E73CB0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0800" y="5264709"/>
            <a:ext cx="2664000" cy="11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insert image icon to add partner log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3688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file page">
    <p:bg>
      <p:bgPr>
        <a:solidFill>
          <a:srgbClr val="D7EA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0000" y="2700000"/>
            <a:ext cx="6493188" cy="634871"/>
          </a:xfrm>
        </p:spPr>
        <p:txBody>
          <a:bodyPr anchor="t" anchorCtr="0"/>
          <a:lstStyle>
            <a:lvl1pPr algn="l">
              <a:defRPr sz="3200">
                <a:solidFill>
                  <a:srgbClr val="00684B"/>
                </a:solidFill>
              </a:defRPr>
            </a:lvl1pPr>
          </a:lstStyle>
          <a:p>
            <a:r>
              <a:rPr lang="en-US" dirty="0"/>
              <a:t>Click to add nam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0" y="3420000"/>
            <a:ext cx="64931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job title / position / department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849714A-D265-4796-A514-DD60718A8AF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84000" y="1764000"/>
            <a:ext cx="3168000" cy="3168000"/>
          </a:xfrm>
          <a:prstGeom prst="flowChartConnector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profile pictu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FF0B4E-2BBA-4B67-B83A-9399E80538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627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0E9C4-41BE-42C2-9C65-E3477D84B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4972CF8-E4C4-4AB8-5281-13AC767B96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lara Carrer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4C38C35-E5C9-0679-7EB5-462AF91E7E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POM Tutorials 2022</a:t>
            </a:r>
          </a:p>
        </p:txBody>
      </p:sp>
    </p:spTree>
    <p:extLst>
      <p:ext uri="{BB962C8B-B14F-4D97-AF65-F5344CB8AC3E}">
        <p14:creationId xmlns:p14="http://schemas.microsoft.com/office/powerpoint/2010/main" val="186134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">
    <p:bg>
      <p:bgPr>
        <a:gradFill>
          <a:gsLst>
            <a:gs pos="100000">
              <a:schemeClr val="bg1"/>
            </a:gs>
            <a:gs pos="0">
              <a:srgbClr val="D7EA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4">
            <a:extLst>
              <a:ext uri="{FF2B5EF4-FFF2-40B4-BE49-F238E27FC236}">
                <a16:creationId xmlns:a16="http://schemas.microsoft.com/office/drawing/2014/main" id="{54F91CC2-DF87-4901-862B-01A5DF927BAB}"/>
              </a:ext>
            </a:extLst>
          </p:cNvPr>
          <p:cNvSpPr txBox="1">
            <a:spLocks/>
          </p:cNvSpPr>
          <p:nvPr userDrawn="1"/>
        </p:nvSpPr>
        <p:spPr>
          <a:xfrm>
            <a:off x="779694" y="307504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68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ur miss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14901D9-CDB2-4DC3-B43C-507DE033B5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0965" y="1302052"/>
            <a:ext cx="9711770" cy="4749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110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DA9C1F-B0E1-4E14-B806-3A09374DE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1/06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EF212B-EFEC-E15E-4796-B8771F5B41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lara Carrer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71592-FCE8-AA6A-F4A1-37F5898DD6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POM Tutorials 2022</a:t>
            </a:r>
          </a:p>
        </p:txBody>
      </p:sp>
    </p:spTree>
    <p:extLst>
      <p:ext uri="{BB962C8B-B14F-4D97-AF65-F5344CB8AC3E}">
        <p14:creationId xmlns:p14="http://schemas.microsoft.com/office/powerpoint/2010/main" val="387942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bg>
      <p:bgPr>
        <a:solidFill>
          <a:srgbClr val="0068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521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bg>
      <p:bgPr>
        <a:solidFill>
          <a:srgbClr val="019F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40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bg>
      <p:bgPr>
        <a:solidFill>
          <a:srgbClr val="82C4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0000" y="4464000"/>
            <a:ext cx="5773188" cy="1952675"/>
          </a:xfrm>
        </p:spPr>
        <p:txBody>
          <a:bodyPr anchor="t" anchorCtr="0"/>
          <a:lstStyle>
            <a:lvl1pPr algn="l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divider title / text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59965-B680-413E-993A-87FD442CB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7530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7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page">
    <p:bg>
      <p:bgPr>
        <a:gradFill>
          <a:gsLst>
            <a:gs pos="93000">
              <a:srgbClr val="01845D"/>
            </a:gs>
            <a:gs pos="49000">
              <a:srgbClr val="019F6E"/>
            </a:gs>
            <a:gs pos="0">
              <a:srgbClr val="01845D"/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CADEED6-E212-4E54-B8BA-B37A60C88F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0" y="2018009"/>
            <a:ext cx="4913280" cy="2304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445347-3C96-A541-8825-9290478CEE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195417" y="5313145"/>
            <a:ext cx="7801167" cy="182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290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6072000" y="0"/>
            <a:ext cx="6120000" cy="29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0400" y="432000"/>
            <a:ext cx="4912788" cy="1226037"/>
          </a:xfrm>
        </p:spPr>
        <p:txBody>
          <a:bodyPr anchor="t" anchorCtr="0"/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A48F9AF-7103-4462-AEFD-409FBB5A5F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620400" y="1944000"/>
            <a:ext cx="4912787" cy="407113"/>
          </a:xfrm>
        </p:spPr>
        <p:txBody>
          <a:bodyPr anchor="t" anchorCtr="0"/>
          <a:lstStyle>
            <a:lvl1pPr marL="0" indent="0" algn="l">
              <a:buNone/>
              <a:defRPr sz="2000">
                <a:solidFill>
                  <a:srgbClr val="A8D4B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 title</a:t>
            </a:r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DD4D2CA-3D35-4729-8142-BAACC57754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000" y="468000"/>
            <a:ext cx="1152000" cy="11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950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e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10735277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POM Tutorials 202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Clara Carrer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9896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3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7F5C3-24BF-419F-8AAA-628CD8089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1/06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B833B1-4B3C-48B5-BF2B-6DA541261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162303-D2F5-436B-8027-AB2D97CF7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49388"/>
            <a:ext cx="5220000" cy="49553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6907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 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B64B32-147F-436F-9421-ED91D65EA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DEEA3C-92A4-459B-8781-C57B2AB5AC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4412" y="1449387"/>
            <a:ext cx="5184000" cy="496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D78CCE-A118-4326-A3B2-DFFC0430E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B1DB4-43E5-4472-B48C-42F238EDF0EC}" type="datetimeFigureOut">
              <a:rPr lang="en-GB" smtClean="0"/>
              <a:t>01/06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947D7E-314E-4CE3-AEDD-1C330935B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4CDFA8-4D97-40AC-B45D-1E05CEDD2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E9A501-B793-4482-A040-76DBD3DA97E7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CAA749D-0BF2-4D9C-AA00-55347A94D38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3515" y="1450100"/>
            <a:ext cx="5184000" cy="4967287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0169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6381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3188" y="1461334"/>
            <a:ext cx="5220000" cy="246609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B38CAF5-14FD-422A-AFCA-9DF40C4AF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275" y="4186899"/>
            <a:ext cx="10729913" cy="2232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2496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6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332995"/>
            <a:ext cx="3384000" cy="308368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FABD25-8427-4311-BB52-DB2FF1EB9A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934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17E3D16-B4F2-4D56-9826-A8932FCF4C4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8818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2546D16-C4BA-4034-973B-53F5E19439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54362" y="2900008"/>
            <a:ext cx="3384000" cy="287338"/>
          </a:xfrm>
        </p:spPr>
        <p:txBody>
          <a:bodyPr/>
          <a:lstStyle>
            <a:lvl1pPr>
              <a:defRPr sz="1500">
                <a:solidFill>
                  <a:srgbClr val="019F6E"/>
                </a:solidFill>
              </a:defRPr>
            </a:lvl1pPr>
            <a:lvl2pPr>
              <a:defRPr sz="1500">
                <a:solidFill>
                  <a:srgbClr val="019F6E"/>
                </a:solidFill>
              </a:defRPr>
            </a:lvl2pPr>
            <a:lvl3pPr>
              <a:defRPr sz="1500">
                <a:solidFill>
                  <a:srgbClr val="019F6E"/>
                </a:solidFill>
              </a:defRPr>
            </a:lvl3pPr>
            <a:lvl4pPr>
              <a:defRPr sz="1500">
                <a:solidFill>
                  <a:srgbClr val="019F6E"/>
                </a:solidFill>
              </a:defRPr>
            </a:lvl4pPr>
            <a:lvl5pPr>
              <a:defRPr sz="1500">
                <a:solidFill>
                  <a:srgbClr val="019F6E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62934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8818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4362" y="2241550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325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C56C0A-B9C8-445E-8013-B33972330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C7B068-3A48-4EEB-8C73-AF5BC9F7D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5745" y="3986315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4D9460A-ED9F-4E3E-87F3-DFCAD2AC7C8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202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0EF7A9E-72DA-482F-86B5-42277E49061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47965" y="3974370"/>
            <a:ext cx="3384000" cy="243036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EEC44E5-0089-431F-AB3B-BB8C32F10D2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574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3B83A00-5DEC-433E-8BDA-CD4528048B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8202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FDC62C96-2944-40A8-95EB-480BF3A001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47965" y="3559467"/>
            <a:ext cx="3384000" cy="287338"/>
          </a:xfrm>
        </p:spPr>
        <p:txBody>
          <a:bodyPr/>
          <a:lstStyle>
            <a:lvl1pPr>
              <a:defRPr sz="2200" b="1">
                <a:solidFill>
                  <a:srgbClr val="00684B"/>
                </a:solidFill>
              </a:defRPr>
            </a:lvl1pPr>
            <a:lvl2pPr>
              <a:defRPr sz="2000">
                <a:solidFill>
                  <a:srgbClr val="00684B"/>
                </a:solidFill>
              </a:defRPr>
            </a:lvl2pPr>
            <a:lvl3pPr>
              <a:defRPr sz="2000">
                <a:solidFill>
                  <a:srgbClr val="00684B"/>
                </a:solidFill>
              </a:defRPr>
            </a:lvl3pPr>
            <a:lvl4pPr>
              <a:defRPr sz="2000">
                <a:solidFill>
                  <a:srgbClr val="00684B"/>
                </a:solidFill>
              </a:defRPr>
            </a:lvl4pPr>
            <a:lvl5pPr>
              <a:defRPr sz="2000">
                <a:solidFill>
                  <a:srgbClr val="00684B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7F8B0A64-3840-4BE2-94B1-151F8C36797E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75634" y="1845050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19" name="Content Placeholder 17">
            <a:extLst>
              <a:ext uri="{FF2B5EF4-FFF2-40B4-BE49-F238E27FC236}">
                <a16:creationId xmlns:a16="http://schemas.microsoft.com/office/drawing/2014/main" id="{9657CC1D-CB94-407E-8F48-E20F55FB8472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485876" y="1846178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  <p:sp>
        <p:nvSpPr>
          <p:cNvPr id="20" name="Content Placeholder 17">
            <a:extLst>
              <a:ext uri="{FF2B5EF4-FFF2-40B4-BE49-F238E27FC236}">
                <a16:creationId xmlns:a16="http://schemas.microsoft.com/office/drawing/2014/main" id="{54D5BE04-C477-46CD-A058-9CF83E5498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147965" y="1871096"/>
            <a:ext cx="1476000" cy="147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image icon to add graph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190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8EF1812-5BD6-4963-9B40-06EA6BC0B8BC}"/>
              </a:ext>
            </a:extLst>
          </p:cNvPr>
          <p:cNvSpPr/>
          <p:nvPr userDrawn="1"/>
        </p:nvSpPr>
        <p:spPr>
          <a:xfrm>
            <a:off x="0" y="4212000"/>
            <a:ext cx="6516000" cy="2016000"/>
          </a:xfrm>
          <a:prstGeom prst="rect">
            <a:avLst/>
          </a:prstGeom>
          <a:solidFill>
            <a:srgbClr val="0068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3A3BDF-C151-4CE3-A195-FC08E76D39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999" y="4756899"/>
            <a:ext cx="5513075" cy="926203"/>
          </a:xfrm>
        </p:spPr>
        <p:txBody>
          <a:bodyPr anchor="ctr" anchorCtr="0"/>
          <a:lstStyle>
            <a:lvl1pPr algn="l"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2327F1-4BD8-4374-BD04-2A18D651E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278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FEEC7CD-AE25-F872-29D6-0FA242A6B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60921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16" imgH="416" progId="TCLayout.ActiveDocument.1">
                  <p:embed/>
                </p:oleObj>
              </mc:Choice>
              <mc:Fallback>
                <p:oleObj name="think-cell Slide" r:id="rId20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FEEC7CD-AE25-F872-29D6-0FA242A6B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D166C7-6146-4983-8651-0FDDFBD786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75" y="304191"/>
            <a:ext cx="8476912" cy="9396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84AEFF-53C3-4314-8AFB-AD0D8EA03C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3275" y="1461333"/>
            <a:ext cx="10735277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r>
              <a:rPr lang="en-US" dirty="0"/>
              <a:t>Six</a:t>
            </a:r>
          </a:p>
          <a:p>
            <a:pPr lvl="4"/>
            <a:r>
              <a:rPr lang="en-US" dirty="0"/>
              <a:t>Seven </a:t>
            </a:r>
          </a:p>
          <a:p>
            <a:pPr lvl="4"/>
            <a:r>
              <a:rPr lang="en-US" dirty="0"/>
              <a:t>Eight</a:t>
            </a:r>
          </a:p>
          <a:p>
            <a:pPr lvl="4"/>
            <a:r>
              <a:rPr lang="en-US" dirty="0"/>
              <a:t>nin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BEDCD4-4FD2-44F4-BBB7-CBA78F00F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16086" y="6557897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B1DB4-43E5-4472-B48C-42F238EDF0EC}" type="datetimeFigureOut">
              <a:rPr lang="en-GB" smtClean="0"/>
              <a:t>01/06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B761E8-91E0-409F-AD94-8B9834DAC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3165" y="6557897"/>
            <a:ext cx="41148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Clara Carrer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4C94E7-48FF-43D7-AAAD-B9495BC82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9988" y="6577352"/>
            <a:ext cx="2743200" cy="28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POM Tutorials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186858-C50A-40BA-8D4E-8A817C800D8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6000" y="180739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311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59" r:id="rId2"/>
    <p:sldLayoutId id="2147483650" r:id="rId3"/>
    <p:sldLayoutId id="2147483664" r:id="rId4"/>
    <p:sldLayoutId id="2147483652" r:id="rId5"/>
    <p:sldLayoutId id="2147483668" r:id="rId6"/>
    <p:sldLayoutId id="2147483667" r:id="rId7"/>
    <p:sldLayoutId id="2147483666" r:id="rId8"/>
    <p:sldLayoutId id="2147483676" r:id="rId9"/>
    <p:sldLayoutId id="2147483661" r:id="rId10"/>
    <p:sldLayoutId id="2147483654" r:id="rId11"/>
    <p:sldLayoutId id="2147483681" r:id="rId12"/>
    <p:sldLayoutId id="2147483655" r:id="rId13"/>
    <p:sldLayoutId id="2147483677" r:id="rId14"/>
    <p:sldLayoutId id="2147483671" r:id="rId15"/>
    <p:sldLayoutId id="2147483672" r:id="rId16"/>
    <p:sldLayoutId id="2147483663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0068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57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34988" indent="-1746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3" orient="horz" pos="4042" userDrawn="1">
          <p15:clr>
            <a:srgbClr val="F26B43"/>
          </p15:clr>
        </p15:guide>
        <p15:guide id="4" pos="7265" userDrawn="1">
          <p15:clr>
            <a:srgbClr val="F26B43"/>
          </p15:clr>
        </p15:guide>
        <p15:guide id="5" orient="horz" pos="1412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2092" userDrawn="1">
          <p15:clr>
            <a:srgbClr val="F26B43"/>
          </p15:clr>
        </p15:guide>
        <p15:guide id="8" orient="horz" pos="18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1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6" Type="http://schemas.openxmlformats.org/officeDocument/2006/relationships/image" Target="../media/image2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2.xml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21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3.xml"/><Relationship Id="rId5" Type="http://schemas.openxmlformats.org/officeDocument/2006/relationships/image" Target="../media/image31.png"/><Relationship Id="rId10" Type="http://schemas.openxmlformats.org/officeDocument/2006/relationships/image" Target="../media/image230.png"/><Relationship Id="rId4" Type="http://schemas.openxmlformats.org/officeDocument/2006/relationships/image" Target="../media/image1.emf"/><Relationship Id="rId9" Type="http://schemas.openxmlformats.org/officeDocument/2006/relationships/image" Target="../media/image22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1.png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8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.xml"/><Relationship Id="rId5" Type="http://schemas.openxmlformats.org/officeDocument/2006/relationships/image" Target="../media/image33.png"/><Relationship Id="rId10" Type="http://schemas.openxmlformats.org/officeDocument/2006/relationships/image" Target="../media/image34.png"/><Relationship Id="rId4" Type="http://schemas.openxmlformats.org/officeDocument/2006/relationships/image" Target="../media/image1.emf"/><Relationship Id="rId9" Type="http://schemas.openxmlformats.org/officeDocument/2006/relationships/image" Target="../media/image27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5.xml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6.xml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80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321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3.png"/><Relationship Id="rId3" Type="http://schemas.openxmlformats.org/officeDocument/2006/relationships/oleObject" Target="../embeddings/oleObject21.bin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9.xml"/><Relationship Id="rId11" Type="http://schemas.openxmlformats.org/officeDocument/2006/relationships/image" Target="../media/image401.png"/><Relationship Id="rId5" Type="http://schemas.openxmlformats.org/officeDocument/2006/relationships/image" Target="../media/image40.png"/><Relationship Id="rId10" Type="http://schemas.openxmlformats.org/officeDocument/2006/relationships/image" Target="../media/image41.png"/><Relationship Id="rId4" Type="http://schemas.openxmlformats.org/officeDocument/2006/relationships/image" Target="../media/image1.emf"/><Relationship Id="rId9" Type="http://schemas.openxmlformats.org/officeDocument/2006/relationships/image" Target="../media/image38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chart" Target="../charts/chart4.xml"/><Relationship Id="rId21" Type="http://schemas.openxmlformats.org/officeDocument/2006/relationships/tags" Target="../tags/tag25.xml"/><Relationship Id="rId34" Type="http://schemas.openxmlformats.org/officeDocument/2006/relationships/chart" Target="../charts/chart3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notesSlide" Target="../notesSlides/notesSlide3.xml"/><Relationship Id="rId41" Type="http://schemas.openxmlformats.org/officeDocument/2006/relationships/chart" Target="../charts/chart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chart" Target="../charts/chart1.xml"/><Relationship Id="rId37" Type="http://schemas.openxmlformats.org/officeDocument/2006/relationships/image" Target="../media/image14.png"/><Relationship Id="rId40" Type="http://schemas.openxmlformats.org/officeDocument/2006/relationships/chart" Target="../charts/chart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slideLayout" Target="../slideLayouts/slideLayout3.xml"/><Relationship Id="rId36" Type="http://schemas.openxmlformats.org/officeDocument/2006/relationships/image" Target="../media/image13.png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12.png"/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chart" Target="../charts/chart2.xml"/><Relationship Id="rId38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5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7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796C332-E7CB-8241-033E-CD623653F4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134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796C332-E7CB-8241-033E-CD623653F4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4E3701-F50D-0848-D9F6-7D4FE9B4A1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Clean Energy Transition, Scarcity and Urban Mining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E585C51-2319-E265-1242-6261A3946903}"/>
              </a:ext>
            </a:extLst>
          </p:cNvPr>
          <p:cNvSpPr txBox="1">
            <a:spLocks/>
          </p:cNvSpPr>
          <p:nvPr/>
        </p:nvSpPr>
        <p:spPr>
          <a:xfrm>
            <a:off x="477727" y="3810702"/>
            <a:ext cx="11055789" cy="845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684B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/>
              <a:t>presented by Clara Carrera</a:t>
            </a:r>
          </a:p>
          <a:p>
            <a:pPr algn="r"/>
            <a:r>
              <a:rPr lang="en-US" i="1" dirty="0"/>
              <a:t>INSEAD, Technology and Operations Management</a:t>
            </a:r>
          </a:p>
          <a:p>
            <a:pPr algn="r"/>
            <a:endParaRPr lang="en-US" dirty="0"/>
          </a:p>
          <a:p>
            <a:pPr algn="r"/>
            <a:r>
              <a:rPr lang="en-US" sz="1600" dirty="0"/>
              <a:t>with Serasu Duran</a:t>
            </a:r>
            <a:r>
              <a:rPr lang="en-US" sz="1600" baseline="30000" dirty="0"/>
              <a:t>1</a:t>
            </a:r>
            <a:r>
              <a:rPr lang="en-US" sz="1600" dirty="0"/>
              <a:t>, Atalay Atasu</a:t>
            </a:r>
            <a:r>
              <a:rPr lang="en-US" sz="1600" baseline="30000" dirty="0"/>
              <a:t>2</a:t>
            </a:r>
            <a:r>
              <a:rPr lang="en-US" sz="1600" dirty="0"/>
              <a:t> and Luk N. Van Wassenhove</a:t>
            </a:r>
            <a:r>
              <a:rPr lang="en-US" sz="1600" baseline="30000" dirty="0"/>
              <a:t>2</a:t>
            </a:r>
            <a:endParaRPr lang="en-US" sz="1600" dirty="0"/>
          </a:p>
          <a:p>
            <a:pPr algn="r"/>
            <a:r>
              <a:rPr lang="en-US" sz="1600" baseline="30000" dirty="0"/>
              <a:t>1</a:t>
            </a:r>
            <a:r>
              <a:rPr lang="en-US" sz="1600" i="1" dirty="0"/>
              <a:t>University of Calgary, Haskayne School of Business</a:t>
            </a:r>
          </a:p>
          <a:p>
            <a:pPr algn="r">
              <a:spcBef>
                <a:spcPts val="0"/>
              </a:spcBef>
            </a:pPr>
            <a:r>
              <a:rPr lang="en-US" sz="1600" baseline="30000" dirty="0"/>
              <a:t>2</a:t>
            </a:r>
            <a:r>
              <a:rPr lang="en-US" sz="1600" i="1" dirty="0"/>
              <a:t>INSEAD, Technology and Operations Management</a:t>
            </a:r>
          </a:p>
          <a:p>
            <a:pPr algn="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0888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52DCBB-A349-C568-B6BA-33B1174535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18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6FA67E1-B763-65FA-66F0-B26D765B26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ppendix slides</a:t>
            </a:r>
          </a:p>
        </p:txBody>
      </p:sp>
    </p:spTree>
    <p:extLst>
      <p:ext uri="{BB962C8B-B14F-4D97-AF65-F5344CB8AC3E}">
        <p14:creationId xmlns:p14="http://schemas.microsoft.com/office/powerpoint/2010/main" val="2550952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2EBB6D6-D7A7-CAB1-BC11-D33D7624B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67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46C868-2A10-B1DF-7E08-AE59557CF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about opening new min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C7A48C-CA59-2120-6D36-88E73F10EA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Opening a new mine can take up to 15 years.</a:t>
            </a:r>
          </a:p>
          <a:p>
            <a:r>
              <a:rPr lang="en-US" sz="2400" dirty="0"/>
              <a:t>Successful outcomes not guaranteed.</a:t>
            </a:r>
          </a:p>
          <a:p>
            <a:r>
              <a:rPr lang="en-US" sz="2400" dirty="0"/>
              <a:t>Opposition and protests.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3030940"/>
            <a:ext cx="4622165" cy="264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78078" y="1232173"/>
            <a:ext cx="3336852" cy="6142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44019" y="2004229"/>
            <a:ext cx="5774183" cy="124104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48587" y="2564203"/>
            <a:ext cx="5314950" cy="24479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27132" y="5382600"/>
            <a:ext cx="6762750" cy="10287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51220" y="4795973"/>
            <a:ext cx="1394733" cy="58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25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2EBB6D6-D7A7-CAB1-BC11-D33D7624B7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876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2EBB6D6-D7A7-CAB1-BC11-D33D7624B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846C868-2A10-B1DF-7E08-AE59557CFD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304191"/>
            <a:ext cx="8476912" cy="939632"/>
          </a:xfrm>
        </p:spPr>
        <p:txBody>
          <a:bodyPr vert="horz"/>
          <a:lstStyle/>
          <a:p>
            <a:r>
              <a:rPr lang="en-US" dirty="0"/>
              <a:t>What about opening new mines?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C93029B-877A-9F50-D797-6B70989CE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50" y="1539296"/>
            <a:ext cx="6261106" cy="4695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B5A5CCCE-24E6-CBE3-C25F-9CAEAA6A3F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7554" y="2361979"/>
            <a:ext cx="5334730" cy="3200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3976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028869-3F33-CCDE-5035-D4F06E666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on 1: Independent Recycl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sz="2800" dirty="0"/>
              <a:t>Industry practice: Vertically integrated set-up</a:t>
            </a:r>
          </a:p>
          <a:p>
            <a:r>
              <a:rPr lang="en-CA" sz="2400" i="1" dirty="0"/>
              <a:t>Ford: recycling facility in Tennessee, Renault: </a:t>
            </a:r>
            <a:r>
              <a:rPr lang="en-CA" sz="2400" i="1" dirty="0" err="1"/>
              <a:t>Refactory</a:t>
            </a:r>
            <a:r>
              <a:rPr lang="en-CA" sz="2400" i="1" dirty="0"/>
              <a:t>, 2024.</a:t>
            </a:r>
            <a:endParaRPr lang="en-CA" i="1" dirty="0"/>
          </a:p>
          <a:p>
            <a:r>
              <a:rPr lang="en-CA" sz="2800" dirty="0"/>
              <a:t>Examples: Third-party recyclers that do not manufacture</a:t>
            </a:r>
          </a:p>
          <a:p>
            <a:r>
              <a:rPr lang="en-CA" sz="2400" i="1" dirty="0" err="1"/>
              <a:t>SolarCycle</a:t>
            </a:r>
            <a:r>
              <a:rPr lang="en-CA" sz="2400" i="1" dirty="0"/>
              <a:t>, US</a:t>
            </a:r>
            <a:endParaRPr lang="en-CA" sz="2400" dirty="0"/>
          </a:p>
          <a:p>
            <a:endParaRPr lang="en-CA" sz="2800" dirty="0"/>
          </a:p>
          <a:p>
            <a:r>
              <a:rPr lang="en-CA" sz="2800" dirty="0"/>
              <a:t>Decoupling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A" sz="2800" dirty="0"/>
              <a:t>Benefits of urban mining hold, less strong due to double marginalizat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A" sz="2800" dirty="0"/>
              <a:t>Recycler sells material to commodity market, the critical material can be lost to other industries.</a:t>
            </a:r>
          </a:p>
        </p:txBody>
      </p:sp>
    </p:spTree>
    <p:extLst>
      <p:ext uri="{BB962C8B-B14F-4D97-AF65-F5344CB8AC3E}">
        <p14:creationId xmlns:p14="http://schemas.microsoft.com/office/powerpoint/2010/main" val="14606198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CC041B-B931-CBFA-F64F-481B03AADC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88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339805-9CC2-B88C-0C11-9197F4597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tension 2: What if we do BOTH Material Reduction and Urban Mining?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>
          <a:xfrm>
            <a:off x="776381" y="1461333"/>
            <a:ext cx="10735277" cy="495534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800" dirty="0"/>
              <a:t>Two opposing effect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A" sz="2800" dirty="0"/>
              <a:t>Positive: Recover materials and build even more due to lower material content -&gt; Increased revenu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CA" sz="2800" dirty="0"/>
              <a:t>Negative: Increase urban mining cost (reduced material density), need more collection and processing</a:t>
            </a:r>
          </a:p>
        </p:txBody>
      </p:sp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7A7BC049-76C3-AA14-FD9F-CA5BD72F9035}"/>
              </a:ext>
            </a:extLst>
          </p:cNvPr>
          <p:cNvSpPr/>
          <p:nvPr/>
        </p:nvSpPr>
        <p:spPr>
          <a:xfrm>
            <a:off x="5873261" y="4371033"/>
            <a:ext cx="4828234" cy="939804"/>
          </a:xfrm>
          <a:prstGeom prst="wedgeRectCallout">
            <a:avLst>
              <a:gd name="adj1" fmla="val -31065"/>
              <a:gd name="adj2" fmla="val -87343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In </a:t>
            </a:r>
            <a:r>
              <a:rPr lang="es-ES" dirty="0" err="1"/>
              <a:t>most</a:t>
            </a:r>
            <a:r>
              <a:rPr lang="es-ES" dirty="0"/>
              <a:t> cases, the </a:t>
            </a:r>
            <a:r>
              <a:rPr lang="es-ES" dirty="0" err="1"/>
              <a:t>strategies</a:t>
            </a:r>
            <a:r>
              <a:rPr lang="es-ES" dirty="0"/>
              <a:t> are substitutes, not </a:t>
            </a:r>
            <a:r>
              <a:rPr lang="es-ES" dirty="0" err="1"/>
              <a:t>compl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714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E7CC4A-7C41-D84B-1C6F-BF57C8876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E7CC4A-7C41-D84B-1C6F-BF57C8876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4B4291-C11A-9971-2285-EBC47BF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enchmark model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8DFB2B8-45DA-1969-69DA-0BF1776C30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2482" y="2761364"/>
            <a:ext cx="5328301" cy="174684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A1C7D87-FC19-D388-152C-69BD0B070EF8}"/>
              </a:ext>
            </a:extLst>
          </p:cNvPr>
          <p:cNvSpPr/>
          <p:nvPr/>
        </p:nvSpPr>
        <p:spPr>
          <a:xfrm>
            <a:off x="5893083" y="4323827"/>
            <a:ext cx="2644246" cy="1200329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schemeClr val="tx2"/>
                </a:solidFill>
              </a:rPr>
              <a:t>Revenues</a:t>
            </a:r>
          </a:p>
          <a:p>
            <a:pPr algn="ctr"/>
            <a:r>
              <a:rPr lang="en-US" i="1" dirty="0" err="1">
                <a:solidFill>
                  <a:schemeClr val="tx2"/>
                </a:solidFill>
              </a:rPr>
              <a:t>q</a:t>
            </a:r>
            <a:r>
              <a:rPr lang="en-US" i="1" baseline="-25000" dirty="0" err="1">
                <a:solidFill>
                  <a:schemeClr val="tx2"/>
                </a:solidFill>
              </a:rPr>
              <a:t>B</a:t>
            </a:r>
            <a:r>
              <a:rPr lang="en-US" i="1" dirty="0">
                <a:solidFill>
                  <a:schemeClr val="tx2"/>
                </a:solidFill>
              </a:rPr>
              <a:t> units of material </a:t>
            </a:r>
          </a:p>
          <a:p>
            <a:pPr algn="ctr"/>
            <a:r>
              <a:rPr lang="es-ES" i="1" dirty="0">
                <a:solidFill>
                  <a:schemeClr val="tx2"/>
                </a:solidFill>
              </a:rPr>
              <a:t>= </a:t>
            </a:r>
            <a:r>
              <a:rPr lang="en-US" i="1" dirty="0" err="1">
                <a:solidFill>
                  <a:schemeClr val="tx2"/>
                </a:solidFill>
              </a:rPr>
              <a:t>q</a:t>
            </a:r>
            <a:r>
              <a:rPr lang="en-US" i="1" baseline="-25000" dirty="0" err="1">
                <a:solidFill>
                  <a:schemeClr val="tx2"/>
                </a:solidFill>
              </a:rPr>
              <a:t>B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products</a:t>
            </a:r>
            <a:r>
              <a:rPr lang="es-ES" i="1" dirty="0">
                <a:solidFill>
                  <a:schemeClr val="tx2"/>
                </a:solidFill>
              </a:rPr>
              <a:t> </a:t>
            </a:r>
          </a:p>
          <a:p>
            <a:pPr algn="ctr"/>
            <a:r>
              <a:rPr lang="es-ES" i="1" dirty="0">
                <a:solidFill>
                  <a:schemeClr val="tx2"/>
                </a:solidFill>
              </a:rPr>
              <a:t>= </a:t>
            </a:r>
            <a:r>
              <a:rPr lang="en-US" i="1" dirty="0" err="1">
                <a:solidFill>
                  <a:schemeClr val="tx2"/>
                </a:solidFill>
              </a:rPr>
              <a:t>q</a:t>
            </a:r>
            <a:r>
              <a:rPr lang="en-US" i="1" baseline="-25000" dirty="0" err="1">
                <a:solidFill>
                  <a:schemeClr val="tx2"/>
                </a:solidFill>
              </a:rPr>
              <a:t>B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MWh</a:t>
            </a:r>
            <a:endParaRPr lang="en-US" i="1" dirty="0">
              <a:solidFill>
                <a:schemeClr val="tx2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0419BBF-41D7-CCD8-67BE-7AEC3701148E}"/>
              </a:ext>
            </a:extLst>
          </p:cNvPr>
          <p:cNvCxnSpPr>
            <a:cxnSpLocks/>
            <a:endCxn id="18" idx="0"/>
          </p:cNvCxnSpPr>
          <p:nvPr/>
        </p:nvCxnSpPr>
        <p:spPr>
          <a:xfrm flipH="1">
            <a:off x="7215206" y="3698582"/>
            <a:ext cx="708927" cy="625245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FC936569-8EB8-501E-3A3A-0EC0C8C69934}"/>
              </a:ext>
            </a:extLst>
          </p:cNvPr>
          <p:cNvSpPr/>
          <p:nvPr/>
        </p:nvSpPr>
        <p:spPr>
          <a:xfrm>
            <a:off x="8657930" y="4556800"/>
            <a:ext cx="2327440" cy="646331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s-ES" i="1" dirty="0" err="1">
                <a:solidFill>
                  <a:schemeClr val="tx2"/>
                </a:solidFill>
              </a:rPr>
              <a:t>Cost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of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purchasing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n-US" i="1" dirty="0" err="1">
                <a:solidFill>
                  <a:schemeClr val="tx2"/>
                </a:solidFill>
              </a:rPr>
              <a:t>q</a:t>
            </a:r>
            <a:r>
              <a:rPr lang="en-US" i="1" baseline="-25000" dirty="0" err="1">
                <a:solidFill>
                  <a:schemeClr val="tx2"/>
                </a:solidFill>
              </a:rPr>
              <a:t>B</a:t>
            </a:r>
            <a:r>
              <a:rPr lang="en-US" i="1" baseline="-25000" dirty="0">
                <a:solidFill>
                  <a:schemeClr val="tx2"/>
                </a:solidFill>
              </a:rPr>
              <a:t> </a:t>
            </a:r>
            <a:r>
              <a:rPr lang="en-US" i="1" dirty="0">
                <a:solidFill>
                  <a:schemeClr val="tx2"/>
                </a:solidFill>
              </a:rPr>
              <a:t>unit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2B8C3FD-DC9A-8C76-5A1F-BF0C32A532BD}"/>
              </a:ext>
            </a:extLst>
          </p:cNvPr>
          <p:cNvCxnSpPr>
            <a:cxnSpLocks/>
            <a:endCxn id="25" idx="0"/>
          </p:cNvCxnSpPr>
          <p:nvPr/>
        </p:nvCxnSpPr>
        <p:spPr>
          <a:xfrm>
            <a:off x="9512458" y="3650454"/>
            <a:ext cx="309192" cy="906346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89277A03-8DF2-96E8-F9E2-544F084C0F9E}"/>
              </a:ext>
            </a:extLst>
          </p:cNvPr>
          <p:cNvGrpSpPr/>
          <p:nvPr/>
        </p:nvGrpSpPr>
        <p:grpSpPr>
          <a:xfrm>
            <a:off x="838200" y="2232485"/>
            <a:ext cx="4138246" cy="2836621"/>
            <a:chOff x="838200" y="2933193"/>
            <a:chExt cx="3116008" cy="213591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E86A5A9-2F64-AFD2-0A7A-BF931BE21560}"/>
                </a:ext>
              </a:extLst>
            </p:cNvPr>
            <p:cNvSpPr/>
            <p:nvPr/>
          </p:nvSpPr>
          <p:spPr>
            <a:xfrm>
              <a:off x="838200" y="3207552"/>
              <a:ext cx="791897" cy="591797"/>
            </a:xfrm>
            <a:prstGeom prst="ellipse">
              <a:avLst/>
            </a:pr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ED7D31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ly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0AFE446-7450-1AD0-72DA-47D7DE75FBC0}"/>
                </a:ext>
              </a:extLst>
            </p:cNvPr>
            <p:cNvSpPr/>
            <p:nvPr/>
          </p:nvSpPr>
          <p:spPr>
            <a:xfrm>
              <a:off x="2421993" y="2933193"/>
              <a:ext cx="1532215" cy="1145049"/>
            </a:xfrm>
            <a:prstGeom prst="rect">
              <a:avLst/>
            </a:prstGeom>
            <a:solidFill>
              <a:srgbClr val="70AD47">
                <a:lumMod val="20000"/>
                <a:lumOff val="80000"/>
              </a:srgbClr>
            </a:solidFill>
            <a:ln w="28575" cap="flat" cmpd="sng" algn="ctr">
              <a:solidFill>
                <a:srgbClr val="70AD47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talled</a:t>
              </a: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bas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5F5BF3DD-671B-EA99-4EB7-E146C15D250E}"/>
                </a:ext>
              </a:extLst>
            </p:cNvPr>
            <p:cNvSpPr/>
            <p:nvPr/>
          </p:nvSpPr>
          <p:spPr>
            <a:xfrm>
              <a:off x="1672450" y="3207552"/>
              <a:ext cx="707190" cy="591797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402899F6-5BAB-A70F-7E8D-AF1BA3F60F8B}"/>
                </a:ext>
              </a:extLst>
            </p:cNvPr>
            <p:cNvSpPr/>
            <p:nvPr/>
          </p:nvSpPr>
          <p:spPr>
            <a:xfrm>
              <a:off x="3104945" y="4778876"/>
              <a:ext cx="849263" cy="290230"/>
            </a:xfrm>
            <a:prstGeom prst="ellipse">
              <a:avLst/>
            </a:prstGeom>
            <a:solidFill>
              <a:srgbClr val="D9D9D9"/>
            </a:solidFill>
            <a:ln w="12700" cap="flat" cmpd="sng" algn="ctr">
              <a:solidFill>
                <a:srgbClr val="4454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st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5AD3C3DF-BB63-4493-8039-44495D98CC9A}"/>
                </a:ext>
              </a:extLst>
            </p:cNvPr>
            <p:cNvSpPr/>
            <p:nvPr/>
          </p:nvSpPr>
          <p:spPr>
            <a:xfrm rot="5400000">
              <a:off x="3216151" y="4096180"/>
              <a:ext cx="626850" cy="667644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601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E7CC4A-7C41-D84B-1C6F-BF57C8876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E7CC4A-7C41-D84B-1C6F-BF57C8876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4B4291-C11A-9971-2285-EBC47BF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aterial reduction model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5631545F-4956-9694-EE1E-04C3BAE7029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89743" y="1825835"/>
            <a:ext cx="4311872" cy="1244664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3F70DD6-3B8C-C688-03F4-8CAD6D40713C}"/>
                  </a:ext>
                </a:extLst>
              </p:cNvPr>
              <p:cNvSpPr/>
              <p:nvPr/>
            </p:nvSpPr>
            <p:spPr>
              <a:xfrm>
                <a:off x="6635737" y="4808908"/>
                <a:ext cx="5214688" cy="1233377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i="1" dirty="0">
                    <a:solidFill>
                      <a:schemeClr val="tx2"/>
                    </a:solidFill>
                  </a:rPr>
                  <a:t>Revenues</a:t>
                </a:r>
              </a:p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s-ES" i="1" dirty="0">
                    <a:solidFill>
                      <a:schemeClr val="tx2"/>
                    </a:solidFill>
                  </a:rPr>
                  <a:t> </a:t>
                </a:r>
                <a:r>
                  <a:rPr lang="en-US" i="1" dirty="0">
                    <a:solidFill>
                      <a:schemeClr val="tx2"/>
                    </a:solidFill>
                  </a:rPr>
                  <a:t>units of material </a:t>
                </a:r>
                <a:r>
                  <a:rPr lang="es-ES" i="1" dirty="0">
                    <a:solidFill>
                      <a:schemeClr val="tx2"/>
                    </a:solidFill>
                  </a:rPr>
                  <a:t>= </a:t>
                </a:r>
                <a14:m>
                  <m:oMath xmlns:m="http://schemas.openxmlformats.org/officeDocument/2006/math"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1+</m:t>
                    </m:r>
                    <m:r>
                      <a:rPr lang="en-US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sSub>
                      <m:sSubPr>
                        <m:ctrlP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s-ES" i="1" dirty="0">
                    <a:solidFill>
                      <a:schemeClr val="tx2"/>
                    </a:solidFill>
                  </a:rPr>
                  <a:t> products = </a:t>
                </a:r>
                <a14:m>
                  <m:oMath xmlns:m="http://schemas.openxmlformats.org/officeDocument/2006/math"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1+(1−</m:t>
                    </m:r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r>
                      <a:rPr lang="en-US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  <m:r>
                      <a:rPr lang="es-ES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sSub>
                      <m:sSubPr>
                        <m:ctrlP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s-ES" i="1" dirty="0">
                    <a:solidFill>
                      <a:schemeClr val="tx2"/>
                    </a:solidFill>
                  </a:rPr>
                  <a:t> </a:t>
                </a:r>
                <a:r>
                  <a:rPr lang="es-ES" i="1" dirty="0" err="1">
                    <a:solidFill>
                      <a:schemeClr val="tx2"/>
                    </a:solidFill>
                  </a:rPr>
                  <a:t>MWh</a:t>
                </a:r>
                <a:endParaRPr lang="en-US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3F70DD6-3B8C-C688-03F4-8CAD6D40713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35737" y="4808908"/>
                <a:ext cx="5214688" cy="123337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0" name="Picture 29">
            <a:extLst>
              <a:ext uri="{FF2B5EF4-FFF2-40B4-BE49-F238E27FC236}">
                <a16:creationId xmlns:a16="http://schemas.microsoft.com/office/drawing/2014/main" id="{31B66F8B-FD5D-DB77-D859-896AA030D9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11913" y="2857871"/>
            <a:ext cx="6067532" cy="600715"/>
          </a:xfrm>
          <a:prstGeom prst="rect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660ACC-F166-7531-062B-772F9157B4A7}"/>
              </a:ext>
            </a:extLst>
          </p:cNvPr>
          <p:cNvCxnSpPr>
            <a:cxnSpLocks/>
          </p:cNvCxnSpPr>
          <p:nvPr/>
        </p:nvCxnSpPr>
        <p:spPr>
          <a:xfrm>
            <a:off x="7563757" y="3458586"/>
            <a:ext cx="0" cy="1350322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4C4AA15-D1DA-3492-22B5-384A95D9C2E4}"/>
              </a:ext>
            </a:extLst>
          </p:cNvPr>
          <p:cNvSpPr/>
          <p:nvPr/>
        </p:nvSpPr>
        <p:spPr>
          <a:xfrm>
            <a:off x="8620342" y="3736254"/>
            <a:ext cx="1580982" cy="923330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s-ES" i="1" dirty="0" err="1">
                <a:solidFill>
                  <a:schemeClr val="tx2"/>
                </a:solidFill>
              </a:rPr>
              <a:t>Cost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of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purchasing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n-US" i="1" dirty="0" err="1">
                <a:solidFill>
                  <a:schemeClr val="tx2"/>
                </a:solidFill>
              </a:rPr>
              <a:t>q</a:t>
            </a:r>
            <a:r>
              <a:rPr lang="en-US" i="1" baseline="-25000" dirty="0" err="1">
                <a:solidFill>
                  <a:schemeClr val="tx2"/>
                </a:solidFill>
              </a:rPr>
              <a:t>M</a:t>
            </a:r>
            <a:r>
              <a:rPr lang="en-US" i="1" baseline="-25000" dirty="0">
                <a:solidFill>
                  <a:schemeClr val="tx2"/>
                </a:solidFill>
              </a:rPr>
              <a:t> </a:t>
            </a:r>
            <a:r>
              <a:rPr lang="en-US" i="1" dirty="0">
                <a:solidFill>
                  <a:schemeClr val="tx2"/>
                </a:solidFill>
              </a:rPr>
              <a:t>unit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46DFEFE-E99E-C69C-5496-2C11FADB610B}"/>
              </a:ext>
            </a:extLst>
          </p:cNvPr>
          <p:cNvCxnSpPr>
            <a:cxnSpLocks/>
          </p:cNvCxnSpPr>
          <p:nvPr/>
        </p:nvCxnSpPr>
        <p:spPr>
          <a:xfrm>
            <a:off x="9410833" y="3458586"/>
            <a:ext cx="0" cy="277668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B2368329-473D-94D5-5F4E-944FB574F723}"/>
              </a:ext>
            </a:extLst>
          </p:cNvPr>
          <p:cNvSpPr/>
          <p:nvPr/>
        </p:nvSpPr>
        <p:spPr>
          <a:xfrm>
            <a:off x="10269443" y="3731183"/>
            <a:ext cx="1580982" cy="923330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s-ES" i="1" dirty="0" err="1">
                <a:solidFill>
                  <a:schemeClr val="tx2"/>
                </a:solidFill>
              </a:rPr>
              <a:t>Additional</a:t>
            </a:r>
            <a:r>
              <a:rPr lang="es-ES" i="1" dirty="0">
                <a:solidFill>
                  <a:schemeClr val="tx2"/>
                </a:solidFill>
              </a:rPr>
              <a:t> </a:t>
            </a:r>
            <a:r>
              <a:rPr lang="es-ES" i="1" dirty="0" err="1">
                <a:solidFill>
                  <a:schemeClr val="tx2"/>
                </a:solidFill>
              </a:rPr>
              <a:t>processing</a:t>
            </a:r>
            <a:r>
              <a:rPr lang="es-ES" i="1" dirty="0">
                <a:solidFill>
                  <a:schemeClr val="tx2"/>
                </a:solidFill>
              </a:rPr>
              <a:t> costs</a:t>
            </a:r>
            <a:endParaRPr lang="en-US" i="1" dirty="0">
              <a:solidFill>
                <a:schemeClr val="tx2"/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2F1E12A-BFDE-5598-AE38-B5B435E49CF2}"/>
              </a:ext>
            </a:extLst>
          </p:cNvPr>
          <p:cNvCxnSpPr>
            <a:cxnSpLocks/>
          </p:cNvCxnSpPr>
          <p:nvPr/>
        </p:nvCxnSpPr>
        <p:spPr>
          <a:xfrm>
            <a:off x="11059934" y="3458586"/>
            <a:ext cx="0" cy="272597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1857A17D-1ABB-6716-D3F1-85449CC6EC49}"/>
              </a:ext>
            </a:extLst>
          </p:cNvPr>
          <p:cNvSpPr/>
          <p:nvPr/>
        </p:nvSpPr>
        <p:spPr>
          <a:xfrm>
            <a:off x="493461" y="4921909"/>
            <a:ext cx="1157083" cy="357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err="1">
                <a:solidFill>
                  <a:schemeClr val="tx1"/>
                </a:solidFill>
              </a:rPr>
              <a:t>Trade</a:t>
            </a:r>
            <a:r>
              <a:rPr lang="es-ES" b="1" dirty="0">
                <a:solidFill>
                  <a:schemeClr val="tx1"/>
                </a:solidFill>
              </a:rPr>
              <a:t>-off</a:t>
            </a:r>
            <a:endParaRPr lang="en-US" b="1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C584FBA-29CD-1CC5-CF0F-B7C2A6CB2C4F}"/>
                  </a:ext>
                </a:extLst>
              </p:cNvPr>
              <p:cNvSpPr/>
              <p:nvPr/>
            </p:nvSpPr>
            <p:spPr>
              <a:xfrm>
                <a:off x="1890849" y="4179190"/>
                <a:ext cx="4498893" cy="338554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ü"/>
                </a:pPr>
                <a:r>
                  <a:rPr lang="es-ES" sz="1600" dirty="0">
                    <a:solidFill>
                      <a:schemeClr val="tx1"/>
                    </a:solidFill>
                  </a:rPr>
                  <a:t>1 </a:t>
                </a:r>
                <a:r>
                  <a:rPr lang="es-ES" sz="1600" dirty="0" err="1">
                    <a:solidFill>
                      <a:schemeClr val="tx1"/>
                    </a:solidFill>
                  </a:rPr>
                  <a:t>unit</a:t>
                </a:r>
                <a:r>
                  <a:rPr lang="es-ES" sz="1600" dirty="0">
                    <a:solidFill>
                      <a:schemeClr val="tx1"/>
                    </a:solidFill>
                  </a:rPr>
                  <a:t> </a:t>
                </a:r>
                <a:r>
                  <a:rPr lang="es-ES" sz="1600" dirty="0" err="1">
                    <a:solidFill>
                      <a:schemeClr val="tx1"/>
                    </a:solidFill>
                  </a:rPr>
                  <a:t>of</a:t>
                </a:r>
                <a:r>
                  <a:rPr lang="es-ES" sz="1600" dirty="0">
                    <a:solidFill>
                      <a:schemeClr val="tx1"/>
                    </a:solidFill>
                  </a:rPr>
                  <a:t> material -&gt; 1+</a:t>
                </a:r>
                <a:r>
                  <a:rPr lang="en-US" sz="16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products</a:t>
                </a:r>
              </a:p>
            </p:txBody>
          </p:sp>
        </mc:Choice>
        <mc:Fallback xmlns="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EC584FBA-29CD-1CC5-CF0F-B7C2A6CB2C4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0849" y="4179190"/>
                <a:ext cx="4498893" cy="338554"/>
              </a:xfrm>
              <a:prstGeom prst="rect">
                <a:avLst/>
              </a:prstGeom>
              <a:blipFill>
                <a:blip r:embed="rId9"/>
                <a:stretch>
                  <a:fillRect l="-542" t="-5455" b="-23636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7" name="Rectangle 46">
            <a:extLst>
              <a:ext uri="{FF2B5EF4-FFF2-40B4-BE49-F238E27FC236}">
                <a16:creationId xmlns:a16="http://schemas.microsoft.com/office/drawing/2014/main" id="{8A53408A-838E-D763-ED14-DB05B555D43B}"/>
              </a:ext>
            </a:extLst>
          </p:cNvPr>
          <p:cNvSpPr/>
          <p:nvPr/>
        </p:nvSpPr>
        <p:spPr>
          <a:xfrm>
            <a:off x="1890849" y="5264399"/>
            <a:ext cx="4498893" cy="3385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buFont typeface="Calibri" panose="020F0502020204030204" pitchFamily="34" charset="0"/>
              <a:buChar char="X"/>
            </a:pPr>
            <a:r>
              <a:rPr lang="es-ES" sz="1600" dirty="0" err="1">
                <a:solidFill>
                  <a:schemeClr val="tx1"/>
                </a:solidFill>
              </a:rPr>
              <a:t>Additional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cost</a:t>
            </a:r>
            <a:r>
              <a:rPr lang="es-ES" sz="1600" dirty="0">
                <a:solidFill>
                  <a:schemeClr val="tx1"/>
                </a:solidFill>
              </a:rPr>
              <a:t> c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C96A55C0-5543-8F19-F3ED-5C6BE27FA894}"/>
              </a:ext>
            </a:extLst>
          </p:cNvPr>
          <p:cNvSpPr/>
          <p:nvPr/>
        </p:nvSpPr>
        <p:spPr>
          <a:xfrm>
            <a:off x="1890849" y="5683894"/>
            <a:ext cx="4498893" cy="3385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buFont typeface="Calibri" panose="020F0502020204030204" pitchFamily="34" charset="0"/>
              <a:buChar char="X"/>
            </a:pPr>
            <a:r>
              <a:rPr lang="es-ES" sz="1600" dirty="0" err="1">
                <a:solidFill>
                  <a:schemeClr val="tx1"/>
                </a:solidFill>
              </a:rPr>
              <a:t>Convex</a:t>
            </a:r>
            <a:r>
              <a:rPr lang="es-ES" sz="1600" dirty="0">
                <a:solidFill>
                  <a:schemeClr val="tx1"/>
                </a:solidFill>
              </a:rPr>
              <a:t> R&amp;D costs</a:t>
            </a:r>
            <a:endParaRPr lang="en-US" sz="16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A945AB-7EA9-0DD8-0D9C-46B74D26C7FC}"/>
                  </a:ext>
                </a:extLst>
              </p:cNvPr>
              <p:cNvSpPr/>
              <p:nvPr/>
            </p:nvSpPr>
            <p:spPr>
              <a:xfrm>
                <a:off x="1890849" y="4598684"/>
                <a:ext cx="4498893" cy="584775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AutoFit/>
              </a:bodyPr>
              <a:lstStyle/>
              <a:p>
                <a:pPr marL="285750" indent="-285750">
                  <a:buFont typeface="Calibri" panose="020F0502020204030204" pitchFamily="34" charset="0"/>
                  <a:buChar char="X"/>
                </a:pPr>
                <a:r>
                  <a:rPr lang="es-ES" sz="1600" dirty="0">
                    <a:solidFill>
                      <a:schemeClr val="tx1"/>
                    </a:solidFill>
                  </a:rPr>
                  <a:t>Efficiency </a:t>
                </a:r>
                <a:r>
                  <a:rPr lang="es-ES" sz="1600" dirty="0" err="1">
                    <a:solidFill>
                      <a:schemeClr val="tx1"/>
                    </a:solidFill>
                  </a:rPr>
                  <a:t>loss</a:t>
                </a:r>
                <a:r>
                  <a:rPr lang="es-ES" sz="1600" dirty="0">
                    <a:solidFill>
                      <a:schemeClr val="tx1"/>
                    </a:solidFill>
                  </a:rPr>
                  <a:t>:</a:t>
                </a:r>
              </a:p>
              <a:p>
                <a:r>
                  <a:rPr lang="es-ES" sz="1600" dirty="0">
                    <a:solidFill>
                      <a:schemeClr val="tx1"/>
                    </a:solidFill>
                  </a:rPr>
                  <a:t>      1+</a:t>
                </a:r>
                <a:r>
                  <a:rPr lang="en-US" sz="16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products -&gt;</a:t>
                </a:r>
                <a:r>
                  <a:rPr lang="es-ES" sz="1600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s-ES" sz="16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+(1−</m:t>
                    </m:r>
                    <m:r>
                      <a:rPr lang="es-ES" sz="16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s-ES" sz="16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r>
                      <a:rPr lang="en-US" sz="16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MWh</a:t>
                </a:r>
              </a:p>
            </p:txBody>
          </p:sp>
        </mc:Choice>
        <mc:Fallback xmlns=""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A945AB-7EA9-0DD8-0D9C-46B74D26C7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0849" y="4598684"/>
                <a:ext cx="4498893" cy="584775"/>
              </a:xfrm>
              <a:prstGeom prst="rect">
                <a:avLst/>
              </a:prstGeom>
              <a:blipFill>
                <a:blip r:embed="rId10"/>
                <a:stretch>
                  <a:fillRect l="-678" t="-2083" b="-13542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Right Brace 51">
            <a:extLst>
              <a:ext uri="{FF2B5EF4-FFF2-40B4-BE49-F238E27FC236}">
                <a16:creationId xmlns:a16="http://schemas.microsoft.com/office/drawing/2014/main" id="{8A2CDE51-BE86-EEB2-91F8-310F72B56E2F}"/>
              </a:ext>
            </a:extLst>
          </p:cNvPr>
          <p:cNvSpPr/>
          <p:nvPr/>
        </p:nvSpPr>
        <p:spPr>
          <a:xfrm flipH="1">
            <a:off x="1650543" y="4169556"/>
            <a:ext cx="172174" cy="1862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CDA7CDE-846D-7B93-3E0F-57AF8917B149}"/>
              </a:ext>
            </a:extLst>
          </p:cNvPr>
          <p:cNvGrpSpPr/>
          <p:nvPr/>
        </p:nvGrpSpPr>
        <p:grpSpPr>
          <a:xfrm>
            <a:off x="957550" y="1568724"/>
            <a:ext cx="3967356" cy="2239440"/>
            <a:chOff x="4477219" y="2933193"/>
            <a:chExt cx="3116008" cy="213591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DD90E0B7-9854-3E1A-2F7B-12810A2A3256}"/>
                </a:ext>
              </a:extLst>
            </p:cNvPr>
            <p:cNvSpPr/>
            <p:nvPr/>
          </p:nvSpPr>
          <p:spPr>
            <a:xfrm>
              <a:off x="4477219" y="3207552"/>
              <a:ext cx="791897" cy="591797"/>
            </a:xfrm>
            <a:prstGeom prst="ellipse">
              <a:avLst/>
            </a:pr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ED7D31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ly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1B60F1A-389C-A999-FB5B-99EB6C089169}"/>
                </a:ext>
              </a:extLst>
            </p:cNvPr>
            <p:cNvSpPr/>
            <p:nvPr/>
          </p:nvSpPr>
          <p:spPr>
            <a:xfrm>
              <a:off x="6061012" y="2933193"/>
              <a:ext cx="1532215" cy="1145049"/>
            </a:xfrm>
            <a:prstGeom prst="rect">
              <a:avLst/>
            </a:prstGeom>
            <a:solidFill>
              <a:srgbClr val="70AD47">
                <a:lumMod val="20000"/>
                <a:lumOff val="80000"/>
              </a:srgbClr>
            </a:solidFill>
            <a:ln w="28575" cap="flat" cmpd="sng" algn="ctr">
              <a:solidFill>
                <a:srgbClr val="70AD47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talled</a:t>
              </a: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bas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EABC3B92-C2B1-B05E-004F-27411BFF684A}"/>
                </a:ext>
              </a:extLst>
            </p:cNvPr>
            <p:cNvSpPr/>
            <p:nvPr/>
          </p:nvSpPr>
          <p:spPr>
            <a:xfrm>
              <a:off x="5311469" y="3207552"/>
              <a:ext cx="707190" cy="591797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E7E6E6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510E09DC-880A-C222-7EB0-1BA0EA87257A}"/>
                </a:ext>
              </a:extLst>
            </p:cNvPr>
            <p:cNvSpPr/>
            <p:nvPr/>
          </p:nvSpPr>
          <p:spPr>
            <a:xfrm>
              <a:off x="5311469" y="3419178"/>
              <a:ext cx="707190" cy="168546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33F66789-26FC-1C05-40B4-ABAA33A3D508}"/>
                </a:ext>
              </a:extLst>
            </p:cNvPr>
            <p:cNvSpPr/>
            <p:nvPr/>
          </p:nvSpPr>
          <p:spPr>
            <a:xfrm>
              <a:off x="6743964" y="4778876"/>
              <a:ext cx="849263" cy="290230"/>
            </a:xfrm>
            <a:prstGeom prst="ellipse">
              <a:avLst/>
            </a:prstGeom>
            <a:solidFill>
              <a:srgbClr val="D9D9D9"/>
            </a:solidFill>
            <a:ln w="12700" cap="flat" cmpd="sng" algn="ctr">
              <a:solidFill>
                <a:srgbClr val="4454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st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F09790D0-513A-A2AD-EB00-3AD5939191ED}"/>
                </a:ext>
              </a:extLst>
            </p:cNvPr>
            <p:cNvSpPr/>
            <p:nvPr/>
          </p:nvSpPr>
          <p:spPr>
            <a:xfrm rot="5400000">
              <a:off x="6855171" y="4096181"/>
              <a:ext cx="626850" cy="667644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9727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6" grpId="0" animBg="1"/>
      <p:bldP spid="38" grpId="0" animBg="1"/>
      <p:bldP spid="42" grpId="0"/>
      <p:bldP spid="43" grpId="0"/>
      <p:bldP spid="47" grpId="0"/>
      <p:bldP spid="48" grpId="0"/>
      <p:bldP spid="45" grpId="0"/>
      <p:bldP spid="5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E7CC4A-7C41-D84B-1C6F-BF57C8876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E7CC4A-7C41-D84B-1C6F-BF57C8876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EB0ACFAA-A9D4-F6B1-F5A8-FBBAC358B6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0336" y="2557388"/>
            <a:ext cx="5519247" cy="5876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4B4291-C11A-9971-2285-EBC47BF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rban Mining mode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3F70DD6-3B8C-C688-03F4-8CAD6D40713C}"/>
                  </a:ext>
                </a:extLst>
              </p:cNvPr>
              <p:cNvSpPr/>
              <p:nvPr/>
            </p:nvSpPr>
            <p:spPr>
              <a:xfrm>
                <a:off x="6389742" y="4808908"/>
                <a:ext cx="4413002" cy="1233377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i="1" dirty="0">
                    <a:solidFill>
                      <a:schemeClr val="tx2"/>
                    </a:solidFill>
                  </a:rPr>
                  <a:t>Revenues:</a:t>
                </a:r>
              </a:p>
              <a:p>
                <a:pPr algn="ctr"/>
                <a14:m>
                  <m:oMath xmlns:m="http://schemas.openxmlformats.org/officeDocument/2006/math">
                    <m:sSub>
                      <m:sSubPr>
                        <m:ctrlP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𝑈</m:t>
                        </m:r>
                      </m:sub>
                    </m:sSub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es-ES" sz="1600" i="1" dirty="0">
                    <a:solidFill>
                      <a:schemeClr val="tx2"/>
                    </a:solidFill>
                  </a:rPr>
                  <a:t> </a:t>
                </a:r>
                <a:r>
                  <a:rPr lang="en-US" sz="1600" i="1" dirty="0">
                    <a:solidFill>
                      <a:schemeClr val="tx2"/>
                    </a:solidFill>
                  </a:rPr>
                  <a:t>units of material </a:t>
                </a:r>
                <a:r>
                  <a:rPr lang="es-ES" sz="1600" i="1" dirty="0">
                    <a:solidFill>
                      <a:schemeClr val="tx2"/>
                    </a:solidFill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𝑈</m:t>
                        </m:r>
                      </m:sub>
                    </m:sSub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es-ES" sz="1600" i="1" dirty="0">
                    <a:solidFill>
                      <a:schemeClr val="tx2"/>
                    </a:solidFill>
                  </a:rPr>
                  <a:t>  </a:t>
                </a:r>
                <a:r>
                  <a:rPr lang="es-ES" sz="1600" i="1" dirty="0" err="1">
                    <a:solidFill>
                      <a:schemeClr val="tx2"/>
                    </a:solidFill>
                  </a:rPr>
                  <a:t>products</a:t>
                </a:r>
                <a:r>
                  <a:rPr lang="es-ES" sz="1600" i="1" dirty="0">
                    <a:solidFill>
                      <a:schemeClr val="tx2"/>
                    </a:solidFill>
                  </a:rPr>
                  <a:t> </a:t>
                </a:r>
              </a:p>
              <a:p>
                <a:pPr algn="ctr"/>
                <a:r>
                  <a:rPr lang="es-ES" sz="1600" i="1" dirty="0">
                    <a:solidFill>
                      <a:schemeClr val="tx2"/>
                    </a:solidFill>
                  </a:rPr>
                  <a:t>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  <m:sub>
                        <m:r>
                          <a:rPr lang="es-ES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𝑈</m:t>
                        </m:r>
                      </m:sub>
                    </m:sSub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r>
                      <a:rPr lang="es-ES" sz="1600" b="0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𝑟</m:t>
                    </m:r>
                  </m:oMath>
                </a14:m>
                <a:r>
                  <a:rPr lang="es-ES" sz="1600" i="1" dirty="0">
                    <a:solidFill>
                      <a:schemeClr val="tx2"/>
                    </a:solidFill>
                  </a:rPr>
                  <a:t> </a:t>
                </a:r>
                <a:r>
                  <a:rPr lang="es-ES" sz="1600" i="1" dirty="0" err="1">
                    <a:solidFill>
                      <a:schemeClr val="tx2"/>
                    </a:solidFill>
                  </a:rPr>
                  <a:t>MWh</a:t>
                </a:r>
                <a:endParaRPr lang="en-US" sz="16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3F70DD6-3B8C-C688-03F4-8CAD6D40713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89742" y="4808908"/>
                <a:ext cx="4413002" cy="1233377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5660ACC-F166-7531-062B-772F9157B4A7}"/>
              </a:ext>
            </a:extLst>
          </p:cNvPr>
          <p:cNvCxnSpPr>
            <a:cxnSpLocks/>
          </p:cNvCxnSpPr>
          <p:nvPr/>
        </p:nvCxnSpPr>
        <p:spPr>
          <a:xfrm>
            <a:off x="8010324" y="3145017"/>
            <a:ext cx="0" cy="1663891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44C4AA15-D1DA-3492-22B5-384A95D9C2E4}"/>
              </a:ext>
            </a:extLst>
          </p:cNvPr>
          <p:cNvSpPr/>
          <p:nvPr/>
        </p:nvSpPr>
        <p:spPr>
          <a:xfrm>
            <a:off x="8102008" y="3478224"/>
            <a:ext cx="1280183" cy="110027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s-ES" sz="1600" i="1" dirty="0" err="1">
                <a:solidFill>
                  <a:schemeClr val="tx2"/>
                </a:solidFill>
              </a:rPr>
              <a:t>Cost</a:t>
            </a:r>
            <a:r>
              <a:rPr lang="es-ES" sz="1600" i="1" dirty="0">
                <a:solidFill>
                  <a:schemeClr val="tx2"/>
                </a:solidFill>
              </a:rPr>
              <a:t> </a:t>
            </a:r>
            <a:r>
              <a:rPr lang="es-ES" sz="1600" i="1" dirty="0" err="1">
                <a:solidFill>
                  <a:schemeClr val="tx2"/>
                </a:solidFill>
              </a:rPr>
              <a:t>of</a:t>
            </a:r>
            <a:r>
              <a:rPr lang="es-ES" sz="1600" i="1" dirty="0">
                <a:solidFill>
                  <a:schemeClr val="tx2"/>
                </a:solidFill>
              </a:rPr>
              <a:t> </a:t>
            </a:r>
            <a:r>
              <a:rPr lang="es-ES" sz="1600" i="1" dirty="0" err="1">
                <a:solidFill>
                  <a:schemeClr val="tx2"/>
                </a:solidFill>
              </a:rPr>
              <a:t>purchasing</a:t>
            </a:r>
            <a:r>
              <a:rPr lang="es-ES" sz="1600" i="1" dirty="0">
                <a:solidFill>
                  <a:schemeClr val="tx2"/>
                </a:solidFill>
              </a:rPr>
              <a:t> </a:t>
            </a:r>
            <a:r>
              <a:rPr lang="en-US" sz="1600" i="1" dirty="0" err="1">
                <a:solidFill>
                  <a:schemeClr val="tx2"/>
                </a:solidFill>
              </a:rPr>
              <a:t>q</a:t>
            </a:r>
            <a:r>
              <a:rPr lang="en-US" sz="1600" i="1" baseline="-25000" dirty="0" err="1">
                <a:solidFill>
                  <a:schemeClr val="tx2"/>
                </a:solidFill>
              </a:rPr>
              <a:t>U</a:t>
            </a:r>
            <a:r>
              <a:rPr lang="en-US" sz="1600" i="1" baseline="-25000" dirty="0">
                <a:solidFill>
                  <a:schemeClr val="tx2"/>
                </a:solidFill>
              </a:rPr>
              <a:t> </a:t>
            </a:r>
            <a:r>
              <a:rPr lang="en-US" sz="1600" i="1" dirty="0">
                <a:solidFill>
                  <a:schemeClr val="tx2"/>
                </a:solidFill>
              </a:rPr>
              <a:t>units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46DFEFE-E99E-C69C-5496-2C11FADB610B}"/>
              </a:ext>
            </a:extLst>
          </p:cNvPr>
          <p:cNvCxnSpPr>
            <a:cxnSpLocks/>
          </p:cNvCxnSpPr>
          <p:nvPr/>
        </p:nvCxnSpPr>
        <p:spPr>
          <a:xfrm>
            <a:off x="9102488" y="3121675"/>
            <a:ext cx="0" cy="35491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2F1E12A-BFDE-5598-AE38-B5B435E49CF2}"/>
              </a:ext>
            </a:extLst>
          </p:cNvPr>
          <p:cNvCxnSpPr>
            <a:cxnSpLocks/>
          </p:cNvCxnSpPr>
          <p:nvPr/>
        </p:nvCxnSpPr>
        <p:spPr>
          <a:xfrm>
            <a:off x="10294389" y="3121675"/>
            <a:ext cx="0" cy="354913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1857A17D-1ABB-6716-D3F1-85449CC6EC49}"/>
              </a:ext>
            </a:extLst>
          </p:cNvPr>
          <p:cNvSpPr/>
          <p:nvPr/>
        </p:nvSpPr>
        <p:spPr>
          <a:xfrm>
            <a:off x="493461" y="4921909"/>
            <a:ext cx="1157083" cy="3578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err="1">
                <a:solidFill>
                  <a:schemeClr val="tx1"/>
                </a:solidFill>
              </a:rPr>
              <a:t>Trade</a:t>
            </a:r>
            <a:r>
              <a:rPr lang="es-ES" b="1" dirty="0">
                <a:solidFill>
                  <a:schemeClr val="tx1"/>
                </a:solidFill>
              </a:rPr>
              <a:t>-off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C584FBA-29CD-1CC5-CF0F-B7C2A6CB2C4F}"/>
              </a:ext>
            </a:extLst>
          </p:cNvPr>
          <p:cNvSpPr/>
          <p:nvPr/>
        </p:nvSpPr>
        <p:spPr>
          <a:xfrm>
            <a:off x="1890849" y="4179190"/>
            <a:ext cx="4498893" cy="3385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ES" sz="1600" dirty="0" err="1">
                <a:solidFill>
                  <a:schemeClr val="tx1"/>
                </a:solidFill>
              </a:rPr>
              <a:t>Recover</a:t>
            </a:r>
            <a:r>
              <a:rPr lang="es-ES" sz="1600" dirty="0">
                <a:solidFill>
                  <a:schemeClr val="tx1"/>
                </a:solidFill>
              </a:rPr>
              <a:t> r </a:t>
            </a:r>
            <a:r>
              <a:rPr lang="es-ES" sz="1600" dirty="0" err="1">
                <a:solidFill>
                  <a:schemeClr val="tx1"/>
                </a:solidFill>
              </a:rPr>
              <a:t>units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of</a:t>
            </a:r>
            <a:r>
              <a:rPr lang="es-ES" sz="1600" dirty="0">
                <a:solidFill>
                  <a:schemeClr val="tx1"/>
                </a:solidFill>
              </a:rPr>
              <a:t> material</a:t>
            </a:r>
            <a:endParaRPr lang="en-US" sz="1600" dirty="0">
              <a:solidFill>
                <a:schemeClr val="tx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A945AB-7EA9-0DD8-0D9C-46B74D26C7FC}"/>
                  </a:ext>
                </a:extLst>
              </p:cNvPr>
              <p:cNvSpPr/>
              <p:nvPr/>
            </p:nvSpPr>
            <p:spPr>
              <a:xfrm>
                <a:off x="1890849" y="5100254"/>
                <a:ext cx="4498893" cy="338554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AutoFit/>
              </a:bodyPr>
              <a:lstStyle/>
              <a:p>
                <a:pPr marL="285750" indent="-285750">
                  <a:buFont typeface="Calibri" panose="020F0502020204030204" pitchFamily="34" charset="0"/>
                  <a:buChar char="X"/>
                </a:pPr>
                <a:r>
                  <a:rPr lang="es-ES" sz="1600" dirty="0">
                    <a:solidFill>
                      <a:schemeClr val="tx1"/>
                    </a:solidFill>
                  </a:rPr>
                  <a:t>Convex recycling costs</a:t>
                </a:r>
                <a:r>
                  <a:rPr lang="es-ES" sz="1600" b="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E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s-ES" sz="16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c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s-ES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R</m:t>
                        </m:r>
                      </m:sub>
                    </m:sSub>
                    <m:sSup>
                      <m:sSupPr>
                        <m:ctrlPr>
                          <a:rPr lang="es-ES" sz="16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s-ES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r</m:t>
                        </m:r>
                      </m:e>
                      <m:sup>
                        <m:r>
                          <a:rPr lang="es-ES" sz="1600" b="0" i="0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es-ES" sz="1600" dirty="0">
                    <a:solidFill>
                      <a:schemeClr val="tx1"/>
                    </a:solidFill>
                  </a:rPr>
                  <a:t> 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AAA945AB-7EA9-0DD8-0D9C-46B74D26C7F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0849" y="5100254"/>
                <a:ext cx="4498893" cy="338554"/>
              </a:xfrm>
              <a:prstGeom prst="rect">
                <a:avLst/>
              </a:prstGeom>
              <a:blipFill>
                <a:blip r:embed="rId8"/>
                <a:stretch>
                  <a:fillRect l="-678" t="-5455" b="-25455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8A53408A-838E-D763-ED14-DB05B555D43B}"/>
                  </a:ext>
                </a:extLst>
              </p:cNvPr>
              <p:cNvSpPr/>
              <p:nvPr/>
            </p:nvSpPr>
            <p:spPr>
              <a:xfrm>
                <a:off x="1890849" y="5560785"/>
                <a:ext cx="4498893" cy="584775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spAutoFit/>
              </a:bodyPr>
              <a:lstStyle/>
              <a:p>
                <a:pPr marL="285750" indent="-285750">
                  <a:buFont typeface="Calibri" panose="020F0502020204030204" pitchFamily="34" charset="0"/>
                  <a:buChar char="X"/>
                </a:pPr>
                <a:r>
                  <a:rPr lang="es-ES" sz="1600" dirty="0">
                    <a:solidFill>
                      <a:schemeClr val="tx1"/>
                    </a:solidFill>
                  </a:rPr>
                  <a:t>Limited </a:t>
                </a:r>
                <a:r>
                  <a:rPr lang="es-ES" sz="1600" dirty="0" err="1">
                    <a:solidFill>
                      <a:schemeClr val="tx1"/>
                    </a:solidFill>
                  </a:rPr>
                  <a:t>by</a:t>
                </a:r>
                <a:r>
                  <a:rPr lang="es-ES" sz="1600" dirty="0">
                    <a:solidFill>
                      <a:schemeClr val="tx1"/>
                    </a:solidFill>
                  </a:rPr>
                  <a:t> EOL </a:t>
                </a:r>
                <a:r>
                  <a:rPr lang="es-ES" sz="1600" dirty="0" err="1">
                    <a:solidFill>
                      <a:schemeClr val="tx1"/>
                    </a:solidFill>
                  </a:rPr>
                  <a:t>products</a:t>
                </a:r>
                <a:r>
                  <a:rPr lang="es-ES" sz="1600" dirty="0">
                    <a:solidFill>
                      <a:schemeClr val="tx1"/>
                    </a:solidFill>
                  </a:rPr>
                  <a:t>:  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s-E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</m:t>
                      </m:r>
                      <m:r>
                        <a:rPr lang="es-E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(1−</m:t>
                      </m:r>
                      <m:r>
                        <m:rPr>
                          <m:sty m:val="p"/>
                        </m:rPr>
                        <a:rPr lang="el-GR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κ</m:t>
                      </m:r>
                      <m:r>
                        <a:rPr lang="es-ES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(</m:t>
                      </m:r>
                      <m:sSub>
                        <m:sSubPr>
                          <m:ctrlPr>
                            <a:rPr lang="es-E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s-ES" sz="16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q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s-ES" sz="16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U</m:t>
                          </m:r>
                        </m:sub>
                      </m:sSub>
                      <m:r>
                        <a:rPr lang="es-ES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r>
                        <m:rPr>
                          <m:sty m:val="p"/>
                        </m:rPr>
                        <a:rPr lang="es-ES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r</m:t>
                      </m:r>
                      <m:r>
                        <a:rPr lang="es-ES" sz="1600" b="0" i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8A53408A-838E-D763-ED14-DB05B555D43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90849" y="5560785"/>
                <a:ext cx="4498893" cy="584775"/>
              </a:xfrm>
              <a:prstGeom prst="rect">
                <a:avLst/>
              </a:prstGeom>
              <a:blipFill>
                <a:blip r:embed="rId9"/>
                <a:stretch>
                  <a:fillRect l="-678" t="-2083" b="-7292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Rectangle 47">
            <a:extLst>
              <a:ext uri="{FF2B5EF4-FFF2-40B4-BE49-F238E27FC236}">
                <a16:creationId xmlns:a16="http://schemas.microsoft.com/office/drawing/2014/main" id="{C96A55C0-5543-8F19-F3ED-5C6BE27FA894}"/>
              </a:ext>
            </a:extLst>
          </p:cNvPr>
          <p:cNvSpPr/>
          <p:nvPr/>
        </p:nvSpPr>
        <p:spPr>
          <a:xfrm>
            <a:off x="1890849" y="4639722"/>
            <a:ext cx="4498893" cy="3385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AutoFit/>
          </a:bodyPr>
          <a:lstStyle/>
          <a:p>
            <a:pPr marL="285750" indent="-285750">
              <a:buFont typeface="Calibri" panose="020F0502020204030204" pitchFamily="34" charset="0"/>
              <a:buChar char="X"/>
            </a:pPr>
            <a:r>
              <a:rPr lang="es-ES" sz="1600" dirty="0" err="1">
                <a:solidFill>
                  <a:schemeClr val="tx1"/>
                </a:solidFill>
              </a:rPr>
              <a:t>Initial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investment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cost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l-GR" sz="1600" dirty="0">
                <a:solidFill>
                  <a:schemeClr val="tx1"/>
                </a:solidFill>
              </a:rPr>
              <a:t>α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52" name="Right Brace 51">
            <a:extLst>
              <a:ext uri="{FF2B5EF4-FFF2-40B4-BE49-F238E27FC236}">
                <a16:creationId xmlns:a16="http://schemas.microsoft.com/office/drawing/2014/main" id="{8A2CDE51-BE86-EEB2-91F8-310F72B56E2F}"/>
              </a:ext>
            </a:extLst>
          </p:cNvPr>
          <p:cNvSpPr/>
          <p:nvPr/>
        </p:nvSpPr>
        <p:spPr>
          <a:xfrm flipH="1">
            <a:off x="1650543" y="4169556"/>
            <a:ext cx="172174" cy="186253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A551C58-8F27-2EF2-E62E-93BD41302B9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31163" y="1787910"/>
            <a:ext cx="5399956" cy="636611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C419C258-19D3-C0EE-CFA1-A9BE5BECB96A}"/>
              </a:ext>
            </a:extLst>
          </p:cNvPr>
          <p:cNvSpPr/>
          <p:nvPr/>
        </p:nvSpPr>
        <p:spPr>
          <a:xfrm>
            <a:off x="9503897" y="4224553"/>
            <a:ext cx="2128121" cy="338554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s-ES" sz="1600" i="1" dirty="0" err="1">
                <a:solidFill>
                  <a:schemeClr val="tx2"/>
                </a:solidFill>
              </a:rPr>
              <a:t>Fixed</a:t>
            </a:r>
            <a:r>
              <a:rPr lang="es-ES" sz="1600" i="1" dirty="0">
                <a:solidFill>
                  <a:schemeClr val="tx2"/>
                </a:solidFill>
              </a:rPr>
              <a:t> recycling costs</a:t>
            </a:r>
            <a:endParaRPr lang="en-US" sz="1600" i="1" dirty="0">
              <a:solidFill>
                <a:schemeClr val="tx2"/>
              </a:solidFill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226E963-CB9D-D895-CF95-F1BE919AD4AE}"/>
              </a:ext>
            </a:extLst>
          </p:cNvPr>
          <p:cNvCxnSpPr>
            <a:cxnSpLocks/>
          </p:cNvCxnSpPr>
          <p:nvPr/>
        </p:nvCxnSpPr>
        <p:spPr>
          <a:xfrm>
            <a:off x="11101294" y="3121675"/>
            <a:ext cx="0" cy="1087489"/>
          </a:xfrm>
          <a:prstGeom prst="line">
            <a:avLst/>
          </a:prstGeom>
          <a:ln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B2368329-473D-94D5-5F4E-944FB574F723}"/>
              </a:ext>
            </a:extLst>
          </p:cNvPr>
          <p:cNvSpPr/>
          <p:nvPr/>
        </p:nvSpPr>
        <p:spPr>
          <a:xfrm>
            <a:off x="9503897" y="3507366"/>
            <a:ext cx="2128121" cy="5847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s-ES" sz="1600" i="1" dirty="0">
                <a:solidFill>
                  <a:schemeClr val="tx2"/>
                </a:solidFill>
              </a:rPr>
              <a:t>Marginal recycling costs</a:t>
            </a:r>
            <a:endParaRPr lang="en-US" sz="1600" i="1" dirty="0">
              <a:solidFill>
                <a:schemeClr val="tx2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4A0CEEA-0150-F189-D46C-DADDF8FC7825}"/>
              </a:ext>
            </a:extLst>
          </p:cNvPr>
          <p:cNvGrpSpPr/>
          <p:nvPr/>
        </p:nvGrpSpPr>
        <p:grpSpPr>
          <a:xfrm>
            <a:off x="1241519" y="1644162"/>
            <a:ext cx="3976385" cy="2112238"/>
            <a:chOff x="7959352" y="2933193"/>
            <a:chExt cx="3394448" cy="2135913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BEF24914-D0FA-4F45-978A-DAB1AF8910E6}"/>
                </a:ext>
              </a:extLst>
            </p:cNvPr>
            <p:cNvSpPr/>
            <p:nvPr/>
          </p:nvSpPr>
          <p:spPr>
            <a:xfrm>
              <a:off x="7959352" y="2933194"/>
              <a:ext cx="926504" cy="546379"/>
            </a:xfrm>
            <a:prstGeom prst="ellipse">
              <a:avLst/>
            </a:prstGeom>
            <a:solidFill>
              <a:srgbClr val="ED7D31">
                <a:lumMod val="20000"/>
                <a:lumOff val="80000"/>
              </a:srgbClr>
            </a:solidFill>
            <a:ln w="12700" cap="flat" cmpd="sng" algn="ctr">
              <a:solidFill>
                <a:srgbClr val="ED7D31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irgin</a:t>
              </a:r>
              <a:endPara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ly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D7D31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E17F923-308A-9848-0053-747ED532461B}"/>
                </a:ext>
              </a:extLst>
            </p:cNvPr>
            <p:cNvSpPr/>
            <p:nvPr/>
          </p:nvSpPr>
          <p:spPr>
            <a:xfrm>
              <a:off x="9533920" y="2933193"/>
              <a:ext cx="1532215" cy="1145049"/>
            </a:xfrm>
            <a:prstGeom prst="rect">
              <a:avLst/>
            </a:prstGeom>
            <a:solidFill>
              <a:srgbClr val="70AD47">
                <a:lumMod val="20000"/>
                <a:lumOff val="80000"/>
              </a:srgbClr>
            </a:solidFill>
            <a:ln w="28575" cap="flat" cmpd="sng" algn="ctr">
              <a:solidFill>
                <a:srgbClr val="70AD47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stalled</a:t>
              </a: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bas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167099C7-0C2E-F0ED-747A-F1BDA9C25E05}"/>
                </a:ext>
              </a:extLst>
            </p:cNvPr>
            <p:cNvSpPr/>
            <p:nvPr/>
          </p:nvSpPr>
          <p:spPr>
            <a:xfrm>
              <a:off x="10092827" y="4801149"/>
              <a:ext cx="695011" cy="267957"/>
            </a:xfrm>
            <a:prstGeom prst="ellipse">
              <a:avLst/>
            </a:prstGeom>
            <a:solidFill>
              <a:srgbClr val="D9D9D9"/>
            </a:solidFill>
            <a:ln w="12700" cap="flat" cmpd="sng" algn="ctr">
              <a:solidFill>
                <a:srgbClr val="44546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ste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23CB078B-892A-1A2E-1739-E2697B10D572}"/>
                </a:ext>
              </a:extLst>
            </p:cNvPr>
            <p:cNvSpPr/>
            <p:nvPr/>
          </p:nvSpPr>
          <p:spPr>
            <a:xfrm rot="5400000">
              <a:off x="10161496" y="4394364"/>
              <a:ext cx="577781" cy="100484"/>
            </a:xfrm>
            <a:prstGeom prst="rightArrow">
              <a:avLst/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636A28F3-DED2-A128-B069-040A65D24E24}"/>
                </a:ext>
              </a:extLst>
            </p:cNvPr>
            <p:cNvSpPr/>
            <p:nvPr/>
          </p:nvSpPr>
          <p:spPr>
            <a:xfrm>
              <a:off x="10383398" y="4310626"/>
              <a:ext cx="970402" cy="26795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kag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37CE2A5-4E00-BC84-87E5-50E7BE0AE952}"/>
                </a:ext>
              </a:extLst>
            </p:cNvPr>
            <p:cNvSpPr/>
            <p:nvPr/>
          </p:nvSpPr>
          <p:spPr>
            <a:xfrm>
              <a:off x="7959352" y="3536762"/>
              <a:ext cx="926504" cy="690825"/>
            </a:xfrm>
            <a:prstGeom prst="ellipse">
              <a:avLst/>
            </a:prstGeom>
            <a:solidFill>
              <a:srgbClr val="FFC000">
                <a:lumMod val="20000"/>
                <a:lumOff val="80000"/>
              </a:srgbClr>
            </a:solidFill>
            <a:ln w="12700" cap="flat" cmpd="sng" algn="ctr">
              <a:solidFill>
                <a:srgbClr val="FFC000">
                  <a:lumMod val="50000"/>
                </a:srgbClr>
              </a:solidFill>
              <a:prstDash val="solid"/>
              <a:miter lim="800000"/>
            </a:ln>
            <a:effectLst/>
          </p:spPr>
          <p:txBody>
            <a:bodyPr wrap="none"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C000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condary</a:t>
              </a:r>
              <a:endPara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C000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pply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D8C7FA2C-A1B1-4E70-8A41-DC9D978050FC}"/>
                </a:ext>
              </a:extLst>
            </p:cNvPr>
            <p:cNvSpPr/>
            <p:nvPr/>
          </p:nvSpPr>
          <p:spPr>
            <a:xfrm>
              <a:off x="8910475" y="3128578"/>
              <a:ext cx="578742" cy="155611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Arrow: Right 18">
              <a:extLst>
                <a:ext uri="{FF2B5EF4-FFF2-40B4-BE49-F238E27FC236}">
                  <a16:creationId xmlns:a16="http://schemas.microsoft.com/office/drawing/2014/main" id="{1247FF40-FFCF-E718-3CD1-F9280FE8191E}"/>
                </a:ext>
              </a:extLst>
            </p:cNvPr>
            <p:cNvSpPr/>
            <p:nvPr/>
          </p:nvSpPr>
          <p:spPr>
            <a:xfrm>
              <a:off x="8910475" y="3557379"/>
              <a:ext cx="578742" cy="451130"/>
            </a:xfrm>
            <a:prstGeom prst="rightArrow">
              <a:avLst>
                <a:gd name="adj1" fmla="val 50000"/>
                <a:gd name="adj2" fmla="val 25479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Arrow: Curved Left 21">
              <a:extLst>
                <a:ext uri="{FF2B5EF4-FFF2-40B4-BE49-F238E27FC236}">
                  <a16:creationId xmlns:a16="http://schemas.microsoft.com/office/drawing/2014/main" id="{2EBB1724-E436-2B9B-1C23-ADB825EE02FE}"/>
                </a:ext>
              </a:extLst>
            </p:cNvPr>
            <p:cNvSpPr/>
            <p:nvPr/>
          </p:nvSpPr>
          <p:spPr>
            <a:xfrm rot="5021219">
              <a:off x="9020381" y="3813368"/>
              <a:ext cx="662129" cy="1515628"/>
            </a:xfrm>
            <a:prstGeom prst="curvedLeftArrow">
              <a:avLst>
                <a:gd name="adj1" fmla="val 25000"/>
                <a:gd name="adj2" fmla="val 51459"/>
                <a:gd name="adj3" fmla="val 26447"/>
              </a:avLst>
            </a:prstGeom>
            <a:solidFill>
              <a:srgbClr val="4472C4"/>
            </a:solidFill>
            <a:ln w="12700" cap="flat" cmpd="sng" algn="ctr">
              <a:solidFill>
                <a:srgbClr val="4472C4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8032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6" grpId="0" animBg="1"/>
      <p:bldP spid="42" grpId="0"/>
      <p:bldP spid="43" grpId="0"/>
      <p:bldP spid="45" grpId="0"/>
      <p:bldP spid="47" grpId="0"/>
      <p:bldP spid="48" grpId="0"/>
      <p:bldP spid="52" grpId="0" animBg="1"/>
      <p:bldP spid="40" grpId="0" animBg="1"/>
      <p:bldP spid="3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E7CC4A-7C41-D84B-1C6F-BF57C8876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E7CC4A-7C41-D84B-1C6F-BF57C8876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4B4291-C11A-9971-2285-EBC47BF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consider 3 model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381" y="1807844"/>
            <a:ext cx="10926267" cy="283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3021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CE7CC4A-7C41-D84B-1C6F-BF57C8876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CE7CC4A-7C41-D84B-1C6F-BF57C8876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14B4291-C11A-9971-2285-EBC47BF01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e consider 3 models: Material flow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5291" y="948546"/>
            <a:ext cx="10127303" cy="4986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738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46330-64ED-A425-61C6-01B4308296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688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46330-64ED-A425-61C6-01B430829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7E6F11-EEE5-3D43-537E-393C66761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0" y="304191"/>
            <a:ext cx="8991563" cy="939632"/>
          </a:xfrm>
        </p:spPr>
        <p:txBody>
          <a:bodyPr vert="horz">
            <a:normAutofit/>
          </a:bodyPr>
          <a:lstStyle/>
          <a:p>
            <a:r>
              <a:rPr lang="en-US" dirty="0"/>
              <a:t>The low carbon economy is a minerals economy</a:t>
            </a:r>
          </a:p>
        </p:txBody>
      </p:sp>
      <p:pic>
        <p:nvPicPr>
          <p:cNvPr id="26" name="Image 12">
            <a:extLst>
              <a:ext uri="{FF2B5EF4-FFF2-40B4-BE49-F238E27FC236}">
                <a16:creationId xmlns:a16="http://schemas.microsoft.com/office/drawing/2014/main" id="{87D3FFB8-1D17-FAC2-6A90-5BBE5F086C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9" t="6480" r="-1037" b="12322"/>
          <a:stretch/>
        </p:blipFill>
        <p:spPr>
          <a:xfrm>
            <a:off x="1900719" y="1759944"/>
            <a:ext cx="8053929" cy="4291866"/>
          </a:xfrm>
          <a:prstGeom prst="rect">
            <a:avLst/>
          </a:prstGeom>
          <a:noFill/>
          <a:ln cap="flat">
            <a:noFill/>
          </a:ln>
        </p:spPr>
      </p:pic>
    </p:spTree>
    <p:extLst>
      <p:ext uri="{BB962C8B-B14F-4D97-AF65-F5344CB8AC3E}">
        <p14:creationId xmlns:p14="http://schemas.microsoft.com/office/powerpoint/2010/main" val="811336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Profitability and Range of Produc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381" y="2240281"/>
            <a:ext cx="11016442" cy="2125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659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B597E26-4E98-3C56-E85B-521A08817D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B597E26-4E98-3C56-E85B-521A08817D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Material </a:t>
            </a:r>
            <a:r>
              <a:rPr lang="es-ES" dirty="0" err="1"/>
              <a:t>reduction</a:t>
            </a:r>
            <a:r>
              <a:rPr lang="es-ES" dirty="0"/>
              <a:t> </a:t>
            </a:r>
            <a:r>
              <a:rPr lang="es-ES" dirty="0" err="1"/>
              <a:t>results</a:t>
            </a:r>
            <a:r>
              <a:rPr lang="es-ES" dirty="0"/>
              <a:t> (1/2)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8006C706-4C6D-6149-AD8C-A97D9812F43F}"/>
                  </a:ext>
                </a:extLst>
              </p:cNvPr>
              <p:cNvSpPr/>
              <p:nvPr/>
            </p:nvSpPr>
            <p:spPr>
              <a:xfrm>
                <a:off x="935665" y="2316986"/>
                <a:ext cx="6326372" cy="681395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s-ES" sz="2000" dirty="0">
                    <a:solidFill>
                      <a:schemeClr val="tx1"/>
                    </a:solidFill>
                  </a:rPr>
                  <a:t>If </a:t>
                </a:r>
                <a14:m>
                  <m:oMath xmlns:m="http://schemas.openxmlformats.org/officeDocument/2006/math">
                    <m:r>
                      <a:rPr lang="es-ES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</a:rPr>
                  <a:t>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ϕ</m:t>
                    </m:r>
                    <m:r>
                      <a:rPr lang="es-ES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</a:rPr>
                  <a:t>and 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</m:oMath>
                </a14:m>
                <a:r>
                  <a:rPr lang="en-US" sz="2000" dirty="0">
                    <a:solidFill>
                      <a:schemeClr val="tx1"/>
                    </a:solidFill>
                  </a:rPr>
                  <a:t> are below a certain threshold </a:t>
                </a:r>
                <a:r>
                  <a:rPr lang="en-US" sz="2000" dirty="0">
                    <a:solidFill>
                      <a:schemeClr val="tx1"/>
                    </a:solidFill>
                    <a:sym typeface="Wingdings" panose="05000000000000000000" pitchFamily="2" charset="2"/>
                  </a:rPr>
                  <a:t> </a:t>
                </a:r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8006C706-4C6D-6149-AD8C-A97D9812F43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35665" y="2316986"/>
                <a:ext cx="6326372" cy="681395"/>
              </a:xfrm>
              <a:prstGeom prst="rect">
                <a:avLst/>
              </a:prstGeom>
              <a:blipFill>
                <a:blip r:embed="rId7"/>
                <a:stretch>
                  <a:fillRect l="-963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1" name="Picture 20">
            <a:extLst>
              <a:ext uri="{FF2B5EF4-FFF2-40B4-BE49-F238E27FC236}">
                <a16:creationId xmlns:a16="http://schemas.microsoft.com/office/drawing/2014/main" id="{853BE3E3-0F13-B6E4-B49F-58FED28614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65767" y="2884805"/>
            <a:ext cx="4969178" cy="62629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84CF1F8E-101D-1BDA-DE7E-B4C485A3FAA3}"/>
              </a:ext>
            </a:extLst>
          </p:cNvPr>
          <p:cNvSpPr/>
          <p:nvPr/>
        </p:nvSpPr>
        <p:spPr>
          <a:xfrm>
            <a:off x="935665" y="3624679"/>
            <a:ext cx="6326372" cy="68139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2000" dirty="0" err="1">
                <a:solidFill>
                  <a:schemeClr val="tx1"/>
                </a:solidFill>
              </a:rPr>
              <a:t>Otherwise</a:t>
            </a:r>
            <a:r>
              <a:rPr lang="es-ES" sz="2000" dirty="0">
                <a:solidFill>
                  <a:schemeClr val="tx1"/>
                </a:solidFill>
              </a:rPr>
              <a:t> </a:t>
            </a:r>
            <a:r>
              <a:rPr lang="es-ES" sz="2000" dirty="0">
                <a:solidFill>
                  <a:schemeClr val="tx1"/>
                </a:solidFill>
                <a:sym typeface="Wingdings" panose="05000000000000000000" pitchFamily="2" charset="2"/>
              </a:rPr>
              <a:t>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A582BB0-2C94-8263-A20A-87DEC08F34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65767" y="4137401"/>
            <a:ext cx="2203053" cy="61195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D2337AC-32A5-4402-1630-F47D113D11D0}"/>
                  </a:ext>
                </a:extLst>
              </p:cNvPr>
              <p:cNvSpPr/>
              <p:nvPr/>
            </p:nvSpPr>
            <p:spPr>
              <a:xfrm>
                <a:off x="6858000" y="2242558"/>
                <a:ext cx="4475285" cy="3249087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en-US" sz="2000" dirty="0">
                    <a:solidFill>
                      <a:schemeClr val="tx1"/>
                    </a:solidFill>
                  </a:rPr>
                  <a:t>No installations when </a:t>
                </a:r>
                <a14:m>
                  <m:oMath xmlns:m="http://schemas.openxmlformats.org/officeDocument/2006/math">
                    <m:r>
                      <a:rPr lang="es-ES" sz="20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endParaRPr lang="en-US" sz="2000" dirty="0">
                  <a:solidFill>
                    <a:schemeClr val="tx1"/>
                  </a:solidFill>
                </a:endParaRPr>
              </a:p>
              <a:p>
                <a:endParaRPr lang="en-US" sz="2000" dirty="0">
                  <a:solidFill>
                    <a:schemeClr val="tx1"/>
                  </a:solidFill>
                </a:endParaRPr>
              </a:p>
              <a:p>
                <a:r>
                  <a:rPr lang="en-US" sz="2000" dirty="0">
                    <a:solidFill>
                      <a:schemeClr val="tx1"/>
                    </a:solidFill>
                  </a:rPr>
                  <a:t>Reduction proportional to </a:t>
                </a:r>
                <a14:m>
                  <m:oMath xmlns:m="http://schemas.openxmlformats.org/officeDocument/2006/math">
                    <m:r>
                      <a:rPr lang="es-ES" sz="2000" b="0" i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1−</m:t>
                    </m:r>
                    <m:r>
                      <a:rPr lang="el-GR" sz="2000" i="1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𝛾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a:rPr lang="es-ES" sz="20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𝑐</m:t>
                    </m:r>
                  </m:oMath>
                </a14:m>
                <a:endParaRPr lang="en-US" sz="2000" dirty="0">
                  <a:solidFill>
                    <a:schemeClr val="tx1"/>
                  </a:solidFill>
                </a:endParaRPr>
              </a:p>
              <a:p>
                <a:endParaRPr lang="en-US" sz="20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D2337AC-32A5-4402-1630-F47D113D11D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58000" y="2242558"/>
                <a:ext cx="4475285" cy="3249087"/>
              </a:xfrm>
              <a:prstGeom prst="rect">
                <a:avLst/>
              </a:prstGeom>
              <a:blipFill>
                <a:blip r:embed="rId10"/>
                <a:stretch>
                  <a:fillRect l="-1362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1113083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2" grpId="0"/>
      <p:bldP spid="2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2280B4-0C05-FF57-53F8-6350D5263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2280B4-0C05-FF57-53F8-6350D5263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0F299B-8324-7767-5677-F72B9D62C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U</a:t>
            </a:r>
            <a:r>
              <a:rPr lang="en-US" dirty="0" err="1"/>
              <a:t>rban</a:t>
            </a:r>
            <a:r>
              <a:rPr lang="en-US" dirty="0"/>
              <a:t> Mining results (1/2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330FD2-A5E3-3845-526C-B01D256218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635337"/>
            <a:ext cx="4968843" cy="499928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2099735-AA8F-8BBF-313B-28F5F76AAFB3}"/>
                  </a:ext>
                </a:extLst>
              </p:cNvPr>
              <p:cNvSpPr/>
              <p:nvPr/>
            </p:nvSpPr>
            <p:spPr>
              <a:xfrm>
                <a:off x="5762095" y="2175855"/>
                <a:ext cx="5731699" cy="411253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Tx/>
                  <a:buChar char="-"/>
                </a:pPr>
                <a:r>
                  <a:rPr lang="es-ES" b="1" dirty="0">
                    <a:solidFill>
                      <a:schemeClr val="tx1"/>
                    </a:solidFill>
                  </a:rPr>
                  <a:t>Interior </a:t>
                </a:r>
                <a:r>
                  <a:rPr lang="es-ES" b="1" dirty="0" err="1">
                    <a:solidFill>
                      <a:schemeClr val="tx1"/>
                    </a:solidFill>
                  </a:rPr>
                  <a:t>solution</a:t>
                </a:r>
                <a:r>
                  <a:rPr lang="es-ES" dirty="0">
                    <a:solidFill>
                      <a:schemeClr val="tx1"/>
                    </a:solidFill>
                  </a:rPr>
                  <a:t>, </a:t>
                </a:r>
                <a:r>
                  <a:rPr lang="es-ES" dirty="0" err="1">
                    <a:solidFill>
                      <a:schemeClr val="tx1"/>
                    </a:solidFill>
                  </a:rPr>
                  <a:t>when</a:t>
                </a:r>
                <a:r>
                  <a:rPr lang="es-ES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s-ES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𝑎</m:t>
                        </m:r>
                      </m:sub>
                    </m:sSub>
                    <m:d>
                      <m:d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κ</m:t>
                        </m:r>
                      </m:e>
                    </m:d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</m:oMath>
                </a14:m>
                <a:r>
                  <a:rPr lang="es-ES" dirty="0">
                    <a:solidFill>
                      <a:schemeClr val="tx1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a:rPr lang="es-ES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acc>
                      <m:accPr>
                        <m:chr m:val="̂"/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</m:acc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κ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22099735-AA8F-8BBF-313B-28F5F76AAFB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095" y="2175855"/>
                <a:ext cx="5731699" cy="411253"/>
              </a:xfrm>
              <a:prstGeom prst="rect">
                <a:avLst/>
              </a:prstGeom>
              <a:blipFill>
                <a:blip r:embed="rId9"/>
                <a:stretch>
                  <a:fillRect l="-851" t="-2985" b="-19403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7" name="Picture 26">
            <a:extLst>
              <a:ext uri="{FF2B5EF4-FFF2-40B4-BE49-F238E27FC236}">
                <a16:creationId xmlns:a16="http://schemas.microsoft.com/office/drawing/2014/main" id="{E1DA3092-BD56-23AB-AEC5-8C077A1FCD1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17640" y="2647058"/>
            <a:ext cx="2035868" cy="50167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EE6C79F-2C82-9420-44E8-2EC30C20C2C0}"/>
                  </a:ext>
                </a:extLst>
              </p:cNvPr>
              <p:cNvSpPr/>
              <p:nvPr/>
            </p:nvSpPr>
            <p:spPr>
              <a:xfrm>
                <a:off x="5762095" y="3344677"/>
                <a:ext cx="5731699" cy="670610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85750" indent="-285750">
                  <a:buFontTx/>
                  <a:buChar char="-"/>
                </a:pPr>
                <a:r>
                  <a:rPr lang="es-ES" b="1" dirty="0">
                    <a:solidFill>
                      <a:schemeClr val="tx1"/>
                    </a:solidFill>
                  </a:rPr>
                  <a:t>Boundary </a:t>
                </a:r>
                <a:r>
                  <a:rPr lang="es-ES" b="1" dirty="0" err="1">
                    <a:solidFill>
                      <a:schemeClr val="tx1"/>
                    </a:solidFill>
                  </a:rPr>
                  <a:t>solution</a:t>
                </a:r>
                <a:r>
                  <a:rPr lang="es-ES" dirty="0">
                    <a:solidFill>
                      <a:schemeClr val="tx1"/>
                    </a:solidFill>
                  </a:rPr>
                  <a:t>, </a:t>
                </a:r>
                <a:r>
                  <a:rPr lang="es-ES" dirty="0" err="1">
                    <a:solidFill>
                      <a:schemeClr val="tx1"/>
                    </a:solidFill>
                  </a:rPr>
                  <a:t>when</a:t>
                </a:r>
                <a:r>
                  <a:rPr lang="es-ES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</m:t>
                        </m:r>
                      </m:sub>
                    </m:sSub>
                    <m:d>
                      <m:d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κ</m:t>
                        </m:r>
                      </m:e>
                    </m:d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r>
                      <a:rPr lang="es-ES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𝑏</m:t>
                        </m:r>
                      </m:sub>
                    </m:sSub>
                    <m:d>
                      <m:dPr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l-GR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κ</m:t>
                        </m:r>
                      </m:e>
                    </m:d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</m:oMath>
                </a14:m>
                <a:r>
                  <a:rPr lang="es-ES" dirty="0">
                    <a:solidFill>
                      <a:schemeClr val="tx1"/>
                    </a:solidFill>
                  </a:rPr>
                  <a:t> and </a:t>
                </a:r>
                <a14:m>
                  <m:oMath xmlns:m="http://schemas.openxmlformats.org/officeDocument/2006/math">
                    <m:r>
                      <a:rPr lang="es-ES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𝛼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lt;</m:t>
                    </m:r>
                    <m:acc>
                      <m:accPr>
                        <m:chr m:val="̂"/>
                        <m:ctrlP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s-ES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e>
                    </m:acc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(</m:t>
                    </m:r>
                    <m:r>
                      <m:rPr>
                        <m:sty m:val="p"/>
                      </m:rPr>
                      <a:rPr lang="el-GR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κ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es-ES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DEE6C79F-2C82-9420-44E8-2EC30C20C2C0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62095" y="3344677"/>
                <a:ext cx="5731699" cy="670610"/>
              </a:xfrm>
              <a:prstGeom prst="rect">
                <a:avLst/>
              </a:prstGeom>
              <a:blipFill>
                <a:blip r:embed="rId11"/>
                <a:stretch>
                  <a:fillRect l="-851" t="-2727" b="-5455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1" name="Picture 30">
            <a:extLst>
              <a:ext uri="{FF2B5EF4-FFF2-40B4-BE49-F238E27FC236}">
                <a16:creationId xmlns:a16="http://schemas.microsoft.com/office/drawing/2014/main" id="{F68F1A61-F625-10DA-E691-D04C8A58585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15864" y="4191436"/>
            <a:ext cx="4039420" cy="438173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0EB7F53E-82DD-B6FD-F252-7E0EAB0D9187}"/>
              </a:ext>
            </a:extLst>
          </p:cNvPr>
          <p:cNvSpPr/>
          <p:nvPr/>
        </p:nvSpPr>
        <p:spPr>
          <a:xfrm>
            <a:off x="5762095" y="4830858"/>
            <a:ext cx="5731699" cy="6706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Tx/>
              <a:buChar char="-"/>
            </a:pPr>
            <a:r>
              <a:rPr lang="es-ES" b="1" dirty="0" err="1">
                <a:solidFill>
                  <a:schemeClr val="tx1"/>
                </a:solidFill>
              </a:rPr>
              <a:t>Benchmark</a:t>
            </a:r>
            <a:r>
              <a:rPr lang="es-ES" b="1" dirty="0">
                <a:solidFill>
                  <a:schemeClr val="tx1"/>
                </a:solidFill>
              </a:rPr>
              <a:t> </a:t>
            </a:r>
            <a:r>
              <a:rPr lang="es-ES" b="1" dirty="0" err="1">
                <a:solidFill>
                  <a:schemeClr val="tx1"/>
                </a:solidFill>
              </a:rPr>
              <a:t>solution</a:t>
            </a:r>
            <a:r>
              <a:rPr lang="es-ES" dirty="0">
                <a:solidFill>
                  <a:schemeClr val="tx1"/>
                </a:solidFill>
              </a:rPr>
              <a:t>, </a:t>
            </a:r>
            <a:r>
              <a:rPr lang="es-ES" dirty="0" err="1">
                <a:solidFill>
                  <a:schemeClr val="tx1"/>
                </a:solidFill>
              </a:rPr>
              <a:t>otherwis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7EAEDE2-0E41-47E2-BCD6-65301F33A20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87806" y="5501468"/>
            <a:ext cx="1695537" cy="444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07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8" grpId="0"/>
      <p:bldP spid="32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2280B4-0C05-FF57-53F8-6350D5263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2280B4-0C05-FF57-53F8-6350D5263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0F299B-8324-7767-5677-F72B9D62C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path to the renewable energy transit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1914DB9-6B02-1513-3D65-8AAE1E4C5F87}"/>
              </a:ext>
            </a:extLst>
          </p:cNvPr>
          <p:cNvSpPr/>
          <p:nvPr/>
        </p:nvSpPr>
        <p:spPr>
          <a:xfrm>
            <a:off x="798174" y="3341311"/>
            <a:ext cx="1872762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dirty="0" err="1">
                <a:solidFill>
                  <a:schemeClr val="tx1"/>
                </a:solidFill>
              </a:rPr>
              <a:t>Benchmark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7DA94-94B5-26F7-38C9-96C23EA6CB50}"/>
              </a:ext>
            </a:extLst>
          </p:cNvPr>
          <p:cNvSpPr/>
          <p:nvPr/>
        </p:nvSpPr>
        <p:spPr>
          <a:xfrm>
            <a:off x="2748574" y="2385210"/>
            <a:ext cx="149523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Prob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of</a:t>
            </a:r>
            <a:r>
              <a:rPr lang="es-ES" sz="1400" i="1" dirty="0">
                <a:solidFill>
                  <a:schemeClr val="tx2"/>
                </a:solidFill>
              </a:rPr>
              <a:t> negative </a:t>
            </a:r>
            <a:r>
              <a:rPr lang="es-ES" sz="1400" i="1" dirty="0" err="1">
                <a:solidFill>
                  <a:schemeClr val="tx2"/>
                </a:solidFill>
              </a:rPr>
              <a:t>profits</a:t>
            </a:r>
            <a:r>
              <a:rPr lang="es-ES" sz="1400" i="1" dirty="0">
                <a:solidFill>
                  <a:schemeClr val="tx2"/>
                </a:solidFill>
              </a:rPr>
              <a:t> and </a:t>
            </a:r>
            <a:r>
              <a:rPr lang="es-ES" sz="1400" i="1" dirty="0" err="1">
                <a:solidFill>
                  <a:schemeClr val="tx2"/>
                </a:solidFill>
              </a:rPr>
              <a:t>production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range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1A1A0B6-AA28-56B4-EDED-3356050D533B}"/>
              </a:ext>
            </a:extLst>
          </p:cNvPr>
          <p:cNvSpPr/>
          <p:nvPr/>
        </p:nvSpPr>
        <p:spPr>
          <a:xfrm>
            <a:off x="4288494" y="2385210"/>
            <a:ext cx="140585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Clean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energy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generation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8C4BDD6-4BEA-266A-0BB7-AF47DFC7D31C}"/>
              </a:ext>
            </a:extLst>
          </p:cNvPr>
          <p:cNvSpPr/>
          <p:nvPr/>
        </p:nvSpPr>
        <p:spPr>
          <a:xfrm>
            <a:off x="5783724" y="2385210"/>
            <a:ext cx="140585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Profits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D76FE3-1894-D8FB-36EF-DB40B6A3AA4D}"/>
              </a:ext>
            </a:extLst>
          </p:cNvPr>
          <p:cNvSpPr/>
          <p:nvPr/>
        </p:nvSpPr>
        <p:spPr>
          <a:xfrm>
            <a:off x="798174" y="4279757"/>
            <a:ext cx="1872762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dirty="0">
                <a:solidFill>
                  <a:schemeClr val="tx1"/>
                </a:solidFill>
              </a:rPr>
              <a:t>Material </a:t>
            </a:r>
            <a:r>
              <a:rPr lang="es-ES" sz="2000" dirty="0" err="1">
                <a:solidFill>
                  <a:schemeClr val="tx1"/>
                </a:solidFill>
              </a:rPr>
              <a:t>Reductio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BDD8F6-EDC9-E154-FEE8-6EF3B1285E2C}"/>
              </a:ext>
            </a:extLst>
          </p:cNvPr>
          <p:cNvSpPr/>
          <p:nvPr/>
        </p:nvSpPr>
        <p:spPr>
          <a:xfrm>
            <a:off x="798174" y="5218201"/>
            <a:ext cx="1872762" cy="8056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dirty="0">
                <a:solidFill>
                  <a:schemeClr val="tx1"/>
                </a:solidFill>
              </a:rPr>
              <a:t>Urban </a:t>
            </a:r>
            <a:r>
              <a:rPr lang="es-ES" sz="2000" dirty="0" err="1">
                <a:solidFill>
                  <a:schemeClr val="tx1"/>
                </a:solidFill>
              </a:rPr>
              <a:t>mining</a:t>
            </a:r>
            <a:endParaRPr lang="en-US" sz="20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2A73A4E-8F68-DCC7-E585-79B6B095F2A9}"/>
              </a:ext>
            </a:extLst>
          </p:cNvPr>
          <p:cNvCxnSpPr/>
          <p:nvPr/>
        </p:nvCxnSpPr>
        <p:spPr>
          <a:xfrm>
            <a:off x="1002323" y="4146962"/>
            <a:ext cx="105918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754250E-90A7-A99D-C5F4-9DC5FD9844AC}"/>
              </a:ext>
            </a:extLst>
          </p:cNvPr>
          <p:cNvCxnSpPr/>
          <p:nvPr/>
        </p:nvCxnSpPr>
        <p:spPr>
          <a:xfrm>
            <a:off x="1002323" y="5085408"/>
            <a:ext cx="105918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727A042-DCC3-51E1-F3E0-8965CA454DD6}"/>
              </a:ext>
            </a:extLst>
          </p:cNvPr>
          <p:cNvCxnSpPr>
            <a:cxnSpLocks/>
          </p:cNvCxnSpPr>
          <p:nvPr/>
        </p:nvCxnSpPr>
        <p:spPr>
          <a:xfrm>
            <a:off x="5739034" y="2261180"/>
            <a:ext cx="0" cy="37626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4451533-AA8F-63A4-A967-A0AAE0587BE6}"/>
              </a:ext>
            </a:extLst>
          </p:cNvPr>
          <p:cNvCxnSpPr>
            <a:cxnSpLocks/>
          </p:cNvCxnSpPr>
          <p:nvPr/>
        </p:nvCxnSpPr>
        <p:spPr>
          <a:xfrm>
            <a:off x="10224724" y="2261180"/>
            <a:ext cx="0" cy="37626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4F66AAE-7B0A-B433-4DCA-ABDB8B39BAB1}"/>
              </a:ext>
            </a:extLst>
          </p:cNvPr>
          <p:cNvCxnSpPr/>
          <p:nvPr/>
        </p:nvCxnSpPr>
        <p:spPr>
          <a:xfrm>
            <a:off x="1002323" y="3208516"/>
            <a:ext cx="105918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B538C34-B5A6-403E-218B-423C8E6CDA97}"/>
              </a:ext>
            </a:extLst>
          </p:cNvPr>
          <p:cNvCxnSpPr>
            <a:cxnSpLocks/>
          </p:cNvCxnSpPr>
          <p:nvPr/>
        </p:nvCxnSpPr>
        <p:spPr>
          <a:xfrm>
            <a:off x="2748574" y="1690688"/>
            <a:ext cx="0" cy="43331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A923F75-D07C-2AF1-F339-B9555CD76647}"/>
              </a:ext>
            </a:extLst>
          </p:cNvPr>
          <p:cNvGrpSpPr/>
          <p:nvPr/>
        </p:nvGrpSpPr>
        <p:grpSpPr>
          <a:xfrm>
            <a:off x="3183316" y="4388172"/>
            <a:ext cx="646550" cy="509089"/>
            <a:chOff x="4148201" y="4388172"/>
            <a:chExt cx="790982" cy="509089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7A9030D-D6EB-A34B-2174-ED1F67E4F345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C86E4B3-A928-84A7-EBB1-9DCB7257DBD3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79E740BC-53D4-9170-3588-2E26BC400AF9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96E22C5-9254-9734-BE29-C93C5F6411FB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6BC9860-AE80-EA66-C88D-E802E2992324}"/>
              </a:ext>
            </a:extLst>
          </p:cNvPr>
          <p:cNvGrpSpPr/>
          <p:nvPr/>
        </p:nvGrpSpPr>
        <p:grpSpPr>
          <a:xfrm>
            <a:off x="3183316" y="5381969"/>
            <a:ext cx="646550" cy="509089"/>
            <a:chOff x="3905581" y="5381969"/>
            <a:chExt cx="646550" cy="509089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F104DE51-B769-F05F-4905-D5A06368800A}"/>
                </a:ext>
              </a:extLst>
            </p:cNvPr>
            <p:cNvSpPr/>
            <p:nvPr/>
          </p:nvSpPr>
          <p:spPr>
            <a:xfrm>
              <a:off x="3976701" y="5637638"/>
              <a:ext cx="128285" cy="202505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E0E02E1-2CE5-C3FC-EB59-B98115F35D4E}"/>
                </a:ext>
              </a:extLst>
            </p:cNvPr>
            <p:cNvSpPr/>
            <p:nvPr/>
          </p:nvSpPr>
          <p:spPr>
            <a:xfrm>
              <a:off x="4164714" y="5515398"/>
              <a:ext cx="128285" cy="324746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B930B0D-9BC7-AA17-8A28-29C47BCD0C7F}"/>
                </a:ext>
              </a:extLst>
            </p:cNvPr>
            <p:cNvSpPr/>
            <p:nvPr/>
          </p:nvSpPr>
          <p:spPr>
            <a:xfrm>
              <a:off x="4357141" y="5432881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9D69A2-480E-BEE8-2403-579143F6FD1F}"/>
                </a:ext>
              </a:extLst>
            </p:cNvPr>
            <p:cNvSpPr/>
            <p:nvPr/>
          </p:nvSpPr>
          <p:spPr>
            <a:xfrm>
              <a:off x="3905581" y="5381969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A2E5C32-FC5C-ED13-AD73-91A8F482D06B}"/>
              </a:ext>
            </a:extLst>
          </p:cNvPr>
          <p:cNvGrpSpPr/>
          <p:nvPr/>
        </p:nvGrpSpPr>
        <p:grpSpPr>
          <a:xfrm>
            <a:off x="3183316" y="3464186"/>
            <a:ext cx="646550" cy="509089"/>
            <a:chOff x="3183316" y="3464186"/>
            <a:chExt cx="646550" cy="509089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9B8BCB26-AC1F-DEAC-EE1B-AB18142EB298}"/>
                </a:ext>
              </a:extLst>
            </p:cNvPr>
            <p:cNvSpPr/>
            <p:nvPr/>
          </p:nvSpPr>
          <p:spPr>
            <a:xfrm>
              <a:off x="3254436" y="3719855"/>
              <a:ext cx="128285" cy="20250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E53C986-11D6-4ADA-5E1E-33077CB82FE0}"/>
                </a:ext>
              </a:extLst>
            </p:cNvPr>
            <p:cNvSpPr/>
            <p:nvPr/>
          </p:nvSpPr>
          <p:spPr>
            <a:xfrm>
              <a:off x="3442449" y="3597615"/>
              <a:ext cx="128285" cy="32474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F7CF7A2-3B93-78A0-453D-56BEDC7A2CB9}"/>
                </a:ext>
              </a:extLst>
            </p:cNvPr>
            <p:cNvSpPr/>
            <p:nvPr/>
          </p:nvSpPr>
          <p:spPr>
            <a:xfrm>
              <a:off x="3634876" y="3515098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2ACED34-0CB8-2F0B-B313-C9E6E590555E}"/>
                </a:ext>
              </a:extLst>
            </p:cNvPr>
            <p:cNvSpPr/>
            <p:nvPr/>
          </p:nvSpPr>
          <p:spPr>
            <a:xfrm>
              <a:off x="3183316" y="3464186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5B8B2FD6-18B4-24A6-BB2D-E618F3F67721}"/>
              </a:ext>
            </a:extLst>
          </p:cNvPr>
          <p:cNvSpPr/>
          <p:nvPr/>
        </p:nvSpPr>
        <p:spPr>
          <a:xfrm>
            <a:off x="3375476" y="1474865"/>
            <a:ext cx="3816631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i="1" dirty="0">
                <a:solidFill>
                  <a:schemeClr val="tx2"/>
                </a:solidFill>
              </a:rPr>
              <a:t>Low </a:t>
            </a:r>
            <a:r>
              <a:rPr lang="es-ES" sz="2000" i="1" dirty="0" err="1">
                <a:solidFill>
                  <a:schemeClr val="tx2"/>
                </a:solidFill>
              </a:rPr>
              <a:t>scarcity</a:t>
            </a:r>
            <a:endParaRPr lang="en-US" sz="2000" i="1" dirty="0">
              <a:solidFill>
                <a:schemeClr val="tx2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4DB9B91-3F92-0017-0C76-C7EEE6F1EB2A}"/>
              </a:ext>
            </a:extLst>
          </p:cNvPr>
          <p:cNvGrpSpPr/>
          <p:nvPr/>
        </p:nvGrpSpPr>
        <p:grpSpPr>
          <a:xfrm>
            <a:off x="6182766" y="3464186"/>
            <a:ext cx="646550" cy="509089"/>
            <a:chOff x="4148201" y="4388172"/>
            <a:chExt cx="790982" cy="50908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D9DBEA9-C5A9-FCDF-2FBF-F6C79867623C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2D0DD04-335F-263F-E1B6-D5F5FB50E17F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79C2A23-BC53-45ED-F536-3619877AE09E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812F249-D32D-6433-6A43-45AEA35B4219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D42621A-991A-4621-636C-FBF35345B9A8}"/>
              </a:ext>
            </a:extLst>
          </p:cNvPr>
          <p:cNvGrpSpPr/>
          <p:nvPr/>
        </p:nvGrpSpPr>
        <p:grpSpPr>
          <a:xfrm>
            <a:off x="6185327" y="4361641"/>
            <a:ext cx="646550" cy="509089"/>
            <a:chOff x="3905581" y="5381969"/>
            <a:chExt cx="646550" cy="509089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300649E-4755-B594-AA59-0AA369899FD3}"/>
                </a:ext>
              </a:extLst>
            </p:cNvPr>
            <p:cNvSpPr/>
            <p:nvPr/>
          </p:nvSpPr>
          <p:spPr>
            <a:xfrm>
              <a:off x="3976701" y="5637638"/>
              <a:ext cx="128285" cy="202505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F41F1AE-9A37-FBF5-B3BD-4824881C3708}"/>
                </a:ext>
              </a:extLst>
            </p:cNvPr>
            <p:cNvSpPr/>
            <p:nvPr/>
          </p:nvSpPr>
          <p:spPr>
            <a:xfrm>
              <a:off x="4164714" y="5515398"/>
              <a:ext cx="128285" cy="324746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4C245FC-EEE1-248D-E941-EAD5666A168F}"/>
                </a:ext>
              </a:extLst>
            </p:cNvPr>
            <p:cNvSpPr/>
            <p:nvPr/>
          </p:nvSpPr>
          <p:spPr>
            <a:xfrm>
              <a:off x="4357141" y="5432881"/>
              <a:ext cx="128285" cy="407263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7D863F5-5910-A4C9-DF05-220E1EE85FA3}"/>
                </a:ext>
              </a:extLst>
            </p:cNvPr>
            <p:cNvSpPr/>
            <p:nvPr/>
          </p:nvSpPr>
          <p:spPr>
            <a:xfrm>
              <a:off x="3905581" y="5381969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1DA5DA6-75F0-9AEF-0518-DF1BB3CAD811}"/>
              </a:ext>
            </a:extLst>
          </p:cNvPr>
          <p:cNvGrpSpPr/>
          <p:nvPr/>
        </p:nvGrpSpPr>
        <p:grpSpPr>
          <a:xfrm>
            <a:off x="10649065" y="3464186"/>
            <a:ext cx="646550" cy="509089"/>
            <a:chOff x="10649065" y="3464186"/>
            <a:chExt cx="646550" cy="50908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96A5086A-3426-6F2B-2048-91ACCABBA1E1}"/>
                </a:ext>
              </a:extLst>
            </p:cNvPr>
            <p:cNvSpPr/>
            <p:nvPr/>
          </p:nvSpPr>
          <p:spPr>
            <a:xfrm>
              <a:off x="10720185" y="3719855"/>
              <a:ext cx="128285" cy="20250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F108C5FF-FF37-871F-00F8-DED26365737D}"/>
                </a:ext>
              </a:extLst>
            </p:cNvPr>
            <p:cNvSpPr/>
            <p:nvPr/>
          </p:nvSpPr>
          <p:spPr>
            <a:xfrm>
              <a:off x="10908198" y="3597615"/>
              <a:ext cx="128285" cy="32474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4B03E96-81D0-6CF9-41FE-8B4E45ACC941}"/>
                </a:ext>
              </a:extLst>
            </p:cNvPr>
            <p:cNvSpPr/>
            <p:nvPr/>
          </p:nvSpPr>
          <p:spPr>
            <a:xfrm>
              <a:off x="11100625" y="3515098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025297-9950-761A-E25D-33613FC5A5C2}"/>
                </a:ext>
              </a:extLst>
            </p:cNvPr>
            <p:cNvSpPr/>
            <p:nvPr/>
          </p:nvSpPr>
          <p:spPr>
            <a:xfrm>
              <a:off x="10649065" y="3464186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E0EE2B4-CEB3-DBEA-6A53-F69A9A1E6D9E}"/>
              </a:ext>
            </a:extLst>
          </p:cNvPr>
          <p:cNvGrpSpPr/>
          <p:nvPr/>
        </p:nvGrpSpPr>
        <p:grpSpPr>
          <a:xfrm>
            <a:off x="10649064" y="4352733"/>
            <a:ext cx="646550" cy="509089"/>
            <a:chOff x="4148201" y="4388172"/>
            <a:chExt cx="790982" cy="509089"/>
          </a:xfrm>
        </p:grpSpPr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39D74A2D-44F1-98AC-1491-A2A946BF4FD2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55968E29-2B69-E91D-D238-168F50E51265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A21D16F4-701B-99F3-6DD4-4075E29841B2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C59C342A-AE5D-D2F4-2BD1-0DBB674BE843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B8C73144-C5B1-F228-55E1-420F90174334}"/>
              </a:ext>
            </a:extLst>
          </p:cNvPr>
          <p:cNvSpPr/>
          <p:nvPr/>
        </p:nvSpPr>
        <p:spPr>
          <a:xfrm>
            <a:off x="7505956" y="1474865"/>
            <a:ext cx="3816631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i="1" dirty="0">
                <a:solidFill>
                  <a:schemeClr val="tx2"/>
                </a:solidFill>
              </a:rPr>
              <a:t>High </a:t>
            </a:r>
            <a:r>
              <a:rPr lang="es-ES" sz="2000" i="1" dirty="0" err="1">
                <a:solidFill>
                  <a:schemeClr val="tx2"/>
                </a:solidFill>
              </a:rPr>
              <a:t>scarcity</a:t>
            </a:r>
            <a:endParaRPr lang="en-US" sz="2000" i="1" dirty="0">
              <a:solidFill>
                <a:schemeClr val="tx2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69FC38D-23C4-17B3-2788-4B0FDD4C7105}"/>
              </a:ext>
            </a:extLst>
          </p:cNvPr>
          <p:cNvSpPr/>
          <p:nvPr/>
        </p:nvSpPr>
        <p:spPr>
          <a:xfrm>
            <a:off x="7234264" y="2385210"/>
            <a:ext cx="149523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Prob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of</a:t>
            </a:r>
            <a:r>
              <a:rPr lang="es-ES" sz="1400" i="1" dirty="0">
                <a:solidFill>
                  <a:schemeClr val="tx2"/>
                </a:solidFill>
              </a:rPr>
              <a:t> negative </a:t>
            </a:r>
            <a:r>
              <a:rPr lang="es-ES" sz="1400" i="1" dirty="0" err="1">
                <a:solidFill>
                  <a:schemeClr val="tx2"/>
                </a:solidFill>
              </a:rPr>
              <a:t>profits</a:t>
            </a:r>
            <a:r>
              <a:rPr lang="es-ES" sz="1400" i="1" dirty="0">
                <a:solidFill>
                  <a:schemeClr val="tx2"/>
                </a:solidFill>
              </a:rPr>
              <a:t> and </a:t>
            </a:r>
            <a:r>
              <a:rPr lang="es-ES" sz="1400" i="1" dirty="0" err="1">
                <a:solidFill>
                  <a:schemeClr val="tx2"/>
                </a:solidFill>
              </a:rPr>
              <a:t>production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range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46633A6-AC82-93F9-6253-BADE788B6635}"/>
              </a:ext>
            </a:extLst>
          </p:cNvPr>
          <p:cNvSpPr/>
          <p:nvPr/>
        </p:nvSpPr>
        <p:spPr>
          <a:xfrm>
            <a:off x="8774184" y="2385210"/>
            <a:ext cx="140585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Clean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energy</a:t>
            </a:r>
            <a:r>
              <a:rPr lang="es-ES" sz="1400" i="1" dirty="0">
                <a:solidFill>
                  <a:schemeClr val="tx2"/>
                </a:solidFill>
              </a:rPr>
              <a:t> </a:t>
            </a:r>
            <a:r>
              <a:rPr lang="es-ES" sz="1400" i="1" dirty="0" err="1">
                <a:solidFill>
                  <a:schemeClr val="tx2"/>
                </a:solidFill>
              </a:rPr>
              <a:t>generation</a:t>
            </a:r>
            <a:endParaRPr lang="en-US" sz="1400" i="1" dirty="0">
              <a:solidFill>
                <a:schemeClr val="tx2"/>
              </a:solidFill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4DE3F15-6200-AE3E-A6EB-30CA3FE41C7D}"/>
              </a:ext>
            </a:extLst>
          </p:cNvPr>
          <p:cNvSpPr/>
          <p:nvPr/>
        </p:nvSpPr>
        <p:spPr>
          <a:xfrm>
            <a:off x="10269415" y="2385210"/>
            <a:ext cx="1405850" cy="67285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i="1" dirty="0" err="1">
                <a:solidFill>
                  <a:schemeClr val="tx2"/>
                </a:solidFill>
              </a:rPr>
              <a:t>Profits</a:t>
            </a:r>
            <a:endParaRPr lang="en-US" sz="1400" i="1" dirty="0">
              <a:solidFill>
                <a:schemeClr val="tx2"/>
              </a:solidFill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08D88FE-F4DD-BBC4-8519-68D88DCEC259}"/>
              </a:ext>
            </a:extLst>
          </p:cNvPr>
          <p:cNvCxnSpPr>
            <a:cxnSpLocks/>
          </p:cNvCxnSpPr>
          <p:nvPr/>
        </p:nvCxnSpPr>
        <p:spPr>
          <a:xfrm>
            <a:off x="7234264" y="1690687"/>
            <a:ext cx="0" cy="43331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F869405-8BB4-84CF-5082-A33D6E89B411}"/>
              </a:ext>
            </a:extLst>
          </p:cNvPr>
          <p:cNvCxnSpPr>
            <a:cxnSpLocks/>
          </p:cNvCxnSpPr>
          <p:nvPr/>
        </p:nvCxnSpPr>
        <p:spPr>
          <a:xfrm>
            <a:off x="8729494" y="2261180"/>
            <a:ext cx="0" cy="37626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404D359F-4924-1740-ADAA-0887695727BE}"/>
              </a:ext>
            </a:extLst>
          </p:cNvPr>
          <p:cNvCxnSpPr>
            <a:cxnSpLocks/>
          </p:cNvCxnSpPr>
          <p:nvPr/>
        </p:nvCxnSpPr>
        <p:spPr>
          <a:xfrm>
            <a:off x="4243804" y="2261180"/>
            <a:ext cx="0" cy="37626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89">
            <a:extLst>
              <a:ext uri="{FF2B5EF4-FFF2-40B4-BE49-F238E27FC236}">
                <a16:creationId xmlns:a16="http://schemas.microsoft.com/office/drawing/2014/main" id="{DF6D864B-292F-4B3D-A256-5C33D6D7BF7F}"/>
              </a:ext>
            </a:extLst>
          </p:cNvPr>
          <p:cNvGrpSpPr/>
          <p:nvPr/>
        </p:nvGrpSpPr>
        <p:grpSpPr>
          <a:xfrm>
            <a:off x="7668327" y="4388172"/>
            <a:ext cx="646550" cy="509089"/>
            <a:chOff x="4148201" y="4388172"/>
            <a:chExt cx="790982" cy="509089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31AFD3A-EE6C-A58D-533F-32CEE52EF5C5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E3634F03-EC56-E5FE-F691-81C53FBF31B8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958B7146-7C13-0CFA-4414-FAA7E6E5E2AC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3CC9CF9-F1DE-87FD-F74A-FFFF12E79112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6C3D102-B47D-4B3D-255E-FB9232DF3C3A}"/>
              </a:ext>
            </a:extLst>
          </p:cNvPr>
          <p:cNvGrpSpPr/>
          <p:nvPr/>
        </p:nvGrpSpPr>
        <p:grpSpPr>
          <a:xfrm>
            <a:off x="7668327" y="5381969"/>
            <a:ext cx="646550" cy="509089"/>
            <a:chOff x="3905581" y="5381969"/>
            <a:chExt cx="646550" cy="509089"/>
          </a:xfrm>
        </p:grpSpPr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958856F8-3E26-5C1C-C6E9-23F74C3FFE39}"/>
                </a:ext>
              </a:extLst>
            </p:cNvPr>
            <p:cNvSpPr/>
            <p:nvPr/>
          </p:nvSpPr>
          <p:spPr>
            <a:xfrm>
              <a:off x="3976701" y="5637638"/>
              <a:ext cx="128285" cy="202505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7A3645E-0056-1C42-F0BB-D85B128B0765}"/>
                </a:ext>
              </a:extLst>
            </p:cNvPr>
            <p:cNvSpPr/>
            <p:nvPr/>
          </p:nvSpPr>
          <p:spPr>
            <a:xfrm>
              <a:off x="4164714" y="5515398"/>
              <a:ext cx="128285" cy="324746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6C535B88-822F-0D85-3897-31B66687AE77}"/>
                </a:ext>
              </a:extLst>
            </p:cNvPr>
            <p:cNvSpPr/>
            <p:nvPr/>
          </p:nvSpPr>
          <p:spPr>
            <a:xfrm>
              <a:off x="4357141" y="5432881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5AAC927D-86D3-4EA4-63A1-2401B5E21F61}"/>
                </a:ext>
              </a:extLst>
            </p:cNvPr>
            <p:cNvSpPr/>
            <p:nvPr/>
          </p:nvSpPr>
          <p:spPr>
            <a:xfrm>
              <a:off x="3905581" y="5381969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5DE832AE-C7F7-CE61-964F-0F65E5F70C44}"/>
              </a:ext>
            </a:extLst>
          </p:cNvPr>
          <p:cNvGrpSpPr/>
          <p:nvPr/>
        </p:nvGrpSpPr>
        <p:grpSpPr>
          <a:xfrm>
            <a:off x="7668327" y="3464186"/>
            <a:ext cx="646550" cy="509089"/>
            <a:chOff x="7668327" y="3464186"/>
            <a:chExt cx="646550" cy="509089"/>
          </a:xfrm>
        </p:grpSpPr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42BBCD2B-F81B-201F-94B2-0CE3159961A4}"/>
                </a:ext>
              </a:extLst>
            </p:cNvPr>
            <p:cNvSpPr/>
            <p:nvPr/>
          </p:nvSpPr>
          <p:spPr>
            <a:xfrm>
              <a:off x="7739447" y="3719855"/>
              <a:ext cx="128285" cy="20250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E3A24768-79BA-F3DB-BB0D-52DADC86D038}"/>
                </a:ext>
              </a:extLst>
            </p:cNvPr>
            <p:cNvSpPr/>
            <p:nvPr/>
          </p:nvSpPr>
          <p:spPr>
            <a:xfrm>
              <a:off x="7927460" y="3597615"/>
              <a:ext cx="128285" cy="32474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11E6E98A-97B4-284C-CF7C-76AD28F2CE35}"/>
                </a:ext>
              </a:extLst>
            </p:cNvPr>
            <p:cNvSpPr/>
            <p:nvPr/>
          </p:nvSpPr>
          <p:spPr>
            <a:xfrm>
              <a:off x="8119887" y="3515098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3600001A-AC06-94D4-08B4-39D98D8FF8C7}"/>
                </a:ext>
              </a:extLst>
            </p:cNvPr>
            <p:cNvSpPr/>
            <p:nvPr/>
          </p:nvSpPr>
          <p:spPr>
            <a:xfrm>
              <a:off x="7668327" y="3464186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86897920-757B-0E7D-8D1E-B54EB783B525}"/>
              </a:ext>
            </a:extLst>
          </p:cNvPr>
          <p:cNvGrpSpPr/>
          <p:nvPr/>
        </p:nvGrpSpPr>
        <p:grpSpPr>
          <a:xfrm>
            <a:off x="4664960" y="3464186"/>
            <a:ext cx="646550" cy="509089"/>
            <a:chOff x="4148201" y="4388172"/>
            <a:chExt cx="790982" cy="509089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2D9927C7-022D-1E7C-46C1-5DBEC825CE69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2D2C8719-9890-7A6E-0099-7E95E1BBBF68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8E7E29F-1FFA-9704-C5AE-9A254EAC2963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151CDF21-548A-BE78-5393-3721DA6ED25B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6CD1EAC3-987C-0124-7940-84F91FD6B942}"/>
              </a:ext>
            </a:extLst>
          </p:cNvPr>
          <p:cNvGrpSpPr/>
          <p:nvPr/>
        </p:nvGrpSpPr>
        <p:grpSpPr>
          <a:xfrm>
            <a:off x="4723236" y="4361641"/>
            <a:ext cx="646550" cy="509089"/>
            <a:chOff x="3905581" y="5381969"/>
            <a:chExt cx="646550" cy="509089"/>
          </a:xfrm>
        </p:grpSpPr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8BA27F8-1100-452E-B90C-9C85A705668C}"/>
                </a:ext>
              </a:extLst>
            </p:cNvPr>
            <p:cNvSpPr/>
            <p:nvPr/>
          </p:nvSpPr>
          <p:spPr>
            <a:xfrm>
              <a:off x="3976701" y="5637638"/>
              <a:ext cx="128285" cy="202505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5C87414C-836B-40A9-3725-CC444A3905C8}"/>
                </a:ext>
              </a:extLst>
            </p:cNvPr>
            <p:cNvSpPr/>
            <p:nvPr/>
          </p:nvSpPr>
          <p:spPr>
            <a:xfrm>
              <a:off x="4164714" y="5515398"/>
              <a:ext cx="128285" cy="324746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CA64F93-64B5-AF83-9625-FFC6B078071B}"/>
                </a:ext>
              </a:extLst>
            </p:cNvPr>
            <p:cNvSpPr/>
            <p:nvPr/>
          </p:nvSpPr>
          <p:spPr>
            <a:xfrm>
              <a:off x="4357141" y="5432881"/>
              <a:ext cx="128285" cy="407263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2F495F90-264A-81D8-4AA7-9DC495CC3291}"/>
                </a:ext>
              </a:extLst>
            </p:cNvPr>
            <p:cNvSpPr/>
            <p:nvPr/>
          </p:nvSpPr>
          <p:spPr>
            <a:xfrm>
              <a:off x="3905581" y="5381969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0" name="Rectangle 119">
            <a:extLst>
              <a:ext uri="{FF2B5EF4-FFF2-40B4-BE49-F238E27FC236}">
                <a16:creationId xmlns:a16="http://schemas.microsoft.com/office/drawing/2014/main" id="{9605135B-5AE5-9197-74B1-57A01257607B}"/>
              </a:ext>
            </a:extLst>
          </p:cNvPr>
          <p:cNvSpPr/>
          <p:nvPr/>
        </p:nvSpPr>
        <p:spPr>
          <a:xfrm>
            <a:off x="5818795" y="5432881"/>
            <a:ext cx="1335708" cy="4581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pends on </a:t>
            </a:r>
            <a:r>
              <a:rPr lang="el-GR" dirty="0">
                <a:solidFill>
                  <a:schemeClr val="tx1"/>
                </a:solidFill>
              </a:rPr>
              <a:t>α</a:t>
            </a:r>
            <a:r>
              <a:rPr lang="es-ES" dirty="0">
                <a:solidFill>
                  <a:schemeClr val="tx1"/>
                </a:solidFill>
              </a:rPr>
              <a:t> and </a:t>
            </a:r>
            <a:r>
              <a:rPr lang="el-GR" dirty="0">
                <a:solidFill>
                  <a:schemeClr val="tx1"/>
                </a:solidFill>
              </a:rPr>
              <a:t>κ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2EEADAFC-5167-7CD4-5910-96CA5C4464E9}"/>
              </a:ext>
            </a:extLst>
          </p:cNvPr>
          <p:cNvGrpSpPr/>
          <p:nvPr/>
        </p:nvGrpSpPr>
        <p:grpSpPr>
          <a:xfrm>
            <a:off x="9153834" y="4352733"/>
            <a:ext cx="646550" cy="509089"/>
            <a:chOff x="4148201" y="4388172"/>
            <a:chExt cx="790982" cy="509089"/>
          </a:xfrm>
        </p:grpSpPr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02B7E132-ABC3-A46D-A16E-03F8A61AD1F5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73B5FAFA-C659-57DF-FB20-D4453FF9AA79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DAABD497-029F-2635-E6D5-D4E3801366D2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DCB22F27-3908-A82A-DA22-76F21C56B60C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BB003BF0-A9AE-84E2-6FDC-5334EF5A6B1A}"/>
              </a:ext>
            </a:extLst>
          </p:cNvPr>
          <p:cNvGrpSpPr/>
          <p:nvPr/>
        </p:nvGrpSpPr>
        <p:grpSpPr>
          <a:xfrm>
            <a:off x="9153834" y="5381969"/>
            <a:ext cx="646550" cy="509089"/>
            <a:chOff x="3905581" y="5381969"/>
            <a:chExt cx="646550" cy="509089"/>
          </a:xfrm>
        </p:grpSpPr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C60EEB2D-233C-DDC5-F320-583EFF231E5C}"/>
                </a:ext>
              </a:extLst>
            </p:cNvPr>
            <p:cNvSpPr/>
            <p:nvPr/>
          </p:nvSpPr>
          <p:spPr>
            <a:xfrm>
              <a:off x="3976701" y="5637638"/>
              <a:ext cx="128285" cy="202505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>
              <a:extLst>
                <a:ext uri="{FF2B5EF4-FFF2-40B4-BE49-F238E27FC236}">
                  <a16:creationId xmlns:a16="http://schemas.microsoft.com/office/drawing/2014/main" id="{BADE6187-EA77-8E56-C28E-6E1ACC29FC96}"/>
                </a:ext>
              </a:extLst>
            </p:cNvPr>
            <p:cNvSpPr/>
            <p:nvPr/>
          </p:nvSpPr>
          <p:spPr>
            <a:xfrm>
              <a:off x="4164714" y="5515398"/>
              <a:ext cx="128285" cy="324746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BEAFD4FA-ADE9-542C-A3AD-F9044F966B7A}"/>
                </a:ext>
              </a:extLst>
            </p:cNvPr>
            <p:cNvSpPr/>
            <p:nvPr/>
          </p:nvSpPr>
          <p:spPr>
            <a:xfrm>
              <a:off x="4357141" y="5432881"/>
              <a:ext cx="128285" cy="407263"/>
            </a:xfrm>
            <a:prstGeom prst="rect">
              <a:avLst/>
            </a:prstGeom>
            <a:solidFill>
              <a:srgbClr val="009933"/>
            </a:solidFill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AA468D80-A5A5-F666-37F0-D32F3EB90284}"/>
                </a:ext>
              </a:extLst>
            </p:cNvPr>
            <p:cNvSpPr/>
            <p:nvPr/>
          </p:nvSpPr>
          <p:spPr>
            <a:xfrm>
              <a:off x="3905581" y="5381969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rgbClr val="00993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E742986F-3310-A2CF-0AF2-84A1F2EF554D}"/>
              </a:ext>
            </a:extLst>
          </p:cNvPr>
          <p:cNvSpPr/>
          <p:nvPr/>
        </p:nvSpPr>
        <p:spPr>
          <a:xfrm>
            <a:off x="10305176" y="5432881"/>
            <a:ext cx="1335708" cy="4581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epends on </a:t>
            </a:r>
            <a:r>
              <a:rPr lang="el-GR" dirty="0">
                <a:solidFill>
                  <a:schemeClr val="tx1"/>
                </a:solidFill>
              </a:rPr>
              <a:t>α</a:t>
            </a:r>
            <a:r>
              <a:rPr lang="es-ES" dirty="0">
                <a:solidFill>
                  <a:schemeClr val="tx1"/>
                </a:solidFill>
              </a:rPr>
              <a:t> and </a:t>
            </a:r>
            <a:r>
              <a:rPr lang="el-GR" dirty="0">
                <a:solidFill>
                  <a:schemeClr val="tx1"/>
                </a:solidFill>
              </a:rPr>
              <a:t>κ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8723683-87A5-684E-33E3-6040F98149BB}"/>
              </a:ext>
            </a:extLst>
          </p:cNvPr>
          <p:cNvGrpSpPr/>
          <p:nvPr/>
        </p:nvGrpSpPr>
        <p:grpSpPr>
          <a:xfrm>
            <a:off x="4728984" y="5366480"/>
            <a:ext cx="646550" cy="509089"/>
            <a:chOff x="10649065" y="3464186"/>
            <a:chExt cx="646550" cy="509089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DEBD34F-0910-7C2E-2248-BC9F5113D177}"/>
                </a:ext>
              </a:extLst>
            </p:cNvPr>
            <p:cNvSpPr/>
            <p:nvPr/>
          </p:nvSpPr>
          <p:spPr>
            <a:xfrm>
              <a:off x="10720185" y="3719855"/>
              <a:ext cx="128285" cy="202505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7DE6483F-DD69-BAD8-B8A9-5C51B8BA4978}"/>
                </a:ext>
              </a:extLst>
            </p:cNvPr>
            <p:cNvSpPr/>
            <p:nvPr/>
          </p:nvSpPr>
          <p:spPr>
            <a:xfrm>
              <a:off x="10908198" y="3597615"/>
              <a:ext cx="128285" cy="324746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F1FBEF5-C535-ABB1-3E37-80F87E6048A0}"/>
                </a:ext>
              </a:extLst>
            </p:cNvPr>
            <p:cNvSpPr/>
            <p:nvPr/>
          </p:nvSpPr>
          <p:spPr>
            <a:xfrm>
              <a:off x="11100625" y="3515098"/>
              <a:ext cx="128285" cy="407263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99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AD6D1EC2-2279-7EC0-0675-8BA857CF34E0}"/>
                </a:ext>
              </a:extLst>
            </p:cNvPr>
            <p:cNvSpPr/>
            <p:nvPr/>
          </p:nvSpPr>
          <p:spPr>
            <a:xfrm>
              <a:off x="10649065" y="3464186"/>
              <a:ext cx="646550" cy="509089"/>
            </a:xfrm>
            <a:prstGeom prst="rect">
              <a:avLst/>
            </a:prstGeom>
            <a:noFill/>
            <a:ln w="127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1EB9F9E3-0F03-3EA0-F83A-B3F97CEE9CF3}"/>
              </a:ext>
            </a:extLst>
          </p:cNvPr>
          <p:cNvGrpSpPr/>
          <p:nvPr/>
        </p:nvGrpSpPr>
        <p:grpSpPr>
          <a:xfrm>
            <a:off x="9153834" y="3464184"/>
            <a:ext cx="646550" cy="509089"/>
            <a:chOff x="4148201" y="4388172"/>
            <a:chExt cx="790982" cy="509089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B1B28BDE-2A81-205E-BC94-E9AF8BF7A8B4}"/>
                </a:ext>
              </a:extLst>
            </p:cNvPr>
            <p:cNvSpPr/>
            <p:nvPr/>
          </p:nvSpPr>
          <p:spPr>
            <a:xfrm>
              <a:off x="4235209" y="4643841"/>
              <a:ext cx="156942" cy="202505"/>
            </a:xfrm>
            <a:prstGeom prst="rect">
              <a:avLst/>
            </a:prstGeom>
            <a:solidFill>
              <a:srgbClr val="CC0000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A939257-5362-81C5-3F71-F6ACCC97CBCD}"/>
                </a:ext>
              </a:extLst>
            </p:cNvPr>
            <p:cNvSpPr/>
            <p:nvPr/>
          </p:nvSpPr>
          <p:spPr>
            <a:xfrm>
              <a:off x="4465221" y="4521601"/>
              <a:ext cx="156942" cy="324746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B87A280-E25E-A127-D27B-BD257E589A18}"/>
                </a:ext>
              </a:extLst>
            </p:cNvPr>
            <p:cNvSpPr/>
            <p:nvPr/>
          </p:nvSpPr>
          <p:spPr>
            <a:xfrm>
              <a:off x="4700635" y="4439084"/>
              <a:ext cx="156942" cy="407263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330DC68F-EB87-467A-DC23-9C9529B046C6}"/>
                </a:ext>
              </a:extLst>
            </p:cNvPr>
            <p:cNvSpPr/>
            <p:nvPr/>
          </p:nvSpPr>
          <p:spPr>
            <a:xfrm>
              <a:off x="4148201" y="4388172"/>
              <a:ext cx="790982" cy="509089"/>
            </a:xfrm>
            <a:prstGeom prst="rect">
              <a:avLst/>
            </a:prstGeom>
            <a:noFill/>
            <a:ln w="12700" cap="flat" cmpd="sng" algn="ctr">
              <a:solidFill>
                <a:srgbClr val="CC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25968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56" grpId="0"/>
      <p:bldP spid="57" grpId="0"/>
      <p:bldP spid="58" grpId="0"/>
      <p:bldP spid="120" grpId="0"/>
      <p:bldP spid="14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971E93F-ACDD-70D7-63C9-1D659FF11F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282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6" imgH="416" progId="TCLayout.ActiveDocument.1">
                  <p:embed/>
                </p:oleObj>
              </mc:Choice>
              <mc:Fallback>
                <p:oleObj name="think-cell Slide" r:id="rId30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971E93F-ACDD-70D7-63C9-1D659FF11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21037490-9428-E17F-E22F-3EDEDB55A15C}"/>
              </a:ext>
            </a:extLst>
          </p:cNvPr>
          <p:cNvCxnSpPr/>
          <p:nvPr/>
        </p:nvCxnSpPr>
        <p:spPr>
          <a:xfrm>
            <a:off x="8241475" y="1842783"/>
            <a:ext cx="0" cy="4332386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934E6AB-0828-6333-A00B-98330FC118EE}"/>
              </a:ext>
            </a:extLst>
          </p:cNvPr>
          <p:cNvCxnSpPr/>
          <p:nvPr/>
        </p:nvCxnSpPr>
        <p:spPr>
          <a:xfrm>
            <a:off x="9915896" y="1842783"/>
            <a:ext cx="0" cy="4332386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8">
            <a:extLst>
              <a:ext uri="{FF2B5EF4-FFF2-40B4-BE49-F238E27FC236}">
                <a16:creationId xmlns:a16="http://schemas.microsoft.com/office/drawing/2014/main" id="{88AF6331-0CE7-6B37-C3CE-42ED7E42086D}"/>
              </a:ext>
            </a:extLst>
          </p:cNvPr>
          <p:cNvSpPr/>
          <p:nvPr/>
        </p:nvSpPr>
        <p:spPr bwMode="white">
          <a:xfrm>
            <a:off x="0" y="5002"/>
            <a:ext cx="5165765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D8BE15-CA1E-E012-C29B-DA5BDEEAD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5"/>
            <a:ext cx="3516488" cy="1325563"/>
          </a:xfrm>
        </p:spPr>
        <p:txBody>
          <a:bodyPr vert="horz">
            <a:noAutofit/>
          </a:bodyPr>
          <a:lstStyle/>
          <a:p>
            <a:r>
              <a:rPr lang="en-US" sz="2800" dirty="0"/>
              <a:t>Upon the clean energy transition…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052407D-52BD-C501-A968-E330A3C17014}"/>
              </a:ext>
            </a:extLst>
          </p:cNvPr>
          <p:cNvSpPr txBox="1">
            <a:spLocks/>
          </p:cNvSpPr>
          <p:nvPr/>
        </p:nvSpPr>
        <p:spPr>
          <a:xfrm>
            <a:off x="5472257" y="365125"/>
            <a:ext cx="5329093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68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…limited &amp; concentrated supply may not catch up with deman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56DEF1-FB6F-FFD9-6A45-0F917FFDDA99}"/>
              </a:ext>
            </a:extLst>
          </p:cNvPr>
          <p:cNvSpPr txBox="1"/>
          <p:nvPr/>
        </p:nvSpPr>
        <p:spPr>
          <a:xfrm>
            <a:off x="5356165" y="2619403"/>
            <a:ext cx="1133536" cy="8518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600" b="1" dirty="0">
                <a:solidFill>
                  <a:srgbClr val="000000"/>
                </a:solidFill>
                <a:latin typeface="Graphik"/>
              </a:rPr>
              <a:t>Expected demand vs supply</a:t>
            </a:r>
            <a:endParaRPr lang="en-US" sz="1600" b="1" i="0" dirty="0">
              <a:solidFill>
                <a:srgbClr val="000000"/>
              </a:solidFill>
              <a:effectLst/>
              <a:latin typeface="Graphik"/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F2BFF913-35FB-B4F4-9208-BCC99515FA2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586010"/>
              </p:ext>
            </p:extLst>
          </p:nvPr>
        </p:nvGraphicFramePr>
        <p:xfrm>
          <a:off x="6637338" y="2184400"/>
          <a:ext cx="1406525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5BB4834-505B-16F5-CC54-40281CB951B7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418388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B56C4F-64F1-4C06-AF03-2291A58D3E62}" type="datetime'''''''''''''''''''''''''''''''2''0''3''''''''''''''''''0'''">
              <a:rPr lang="en-US" altLang="en-US" sz="1600" smtClean="0"/>
              <a:pPr/>
              <a:t>2030</a:t>
            </a:fld>
            <a:endParaRPr lang="en-US" sz="16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632F835-A7CD-D0D4-729E-CC3FE4BAE1C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797675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9FF772-F2A1-4FCE-A08B-CA7A1559BF20}" type="datetime'2''''''''''''''''''''''''0''''''''''2''''''0'''''''''''''''">
              <a:rPr lang="en-US" altLang="en-US" sz="1600" smtClean="0"/>
              <a:pPr/>
              <a:t>2020</a:t>
            </a:fld>
            <a:endParaRPr lang="en-US" sz="160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7B90E62-52C5-6EB7-C854-ABACA1C5BBC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621463" y="3994150"/>
            <a:ext cx="285750" cy="21431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7E9520D-4D29-CD8F-9608-9615F8B2868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504238" y="3994150"/>
            <a:ext cx="285750" cy="21431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BE1BAC5-451E-3749-B2BB-6B7F5052869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840788" y="4006850"/>
            <a:ext cx="243840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s-ES" sz="1600" dirty="0"/>
              <a:t>Net Zero </a:t>
            </a:r>
            <a:r>
              <a:rPr lang="es-ES" sz="1600" dirty="0" err="1"/>
              <a:t>Scenario</a:t>
            </a:r>
            <a:r>
              <a:rPr lang="es-ES" sz="1600" dirty="0"/>
              <a:t> </a:t>
            </a:r>
            <a:r>
              <a:rPr lang="es-ES" sz="1600" dirty="0" err="1"/>
              <a:t>demand</a:t>
            </a:r>
            <a:endParaRPr lang="en-US" sz="16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907ACD9-0F82-9FAC-B834-54C6FE2040D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58013" y="4006850"/>
            <a:ext cx="144462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/>
              <a:t>Mine production</a:t>
            </a:r>
            <a:endParaRPr lang="en-US" sz="16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A1B4B9-AC67-B1E4-14D7-4CFB431E9E32}"/>
              </a:ext>
            </a:extLst>
          </p:cNvPr>
          <p:cNvSpPr/>
          <p:nvPr/>
        </p:nvSpPr>
        <p:spPr>
          <a:xfrm>
            <a:off x="6763396" y="1720545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opper</a:t>
            </a:r>
          </a:p>
        </p:txBody>
      </p: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AE034B82-4C89-4173-AE88-C2EB58515F7A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71526330"/>
              </p:ext>
            </p:extLst>
          </p:nvPr>
        </p:nvGraphicFramePr>
        <p:xfrm>
          <a:off x="10036175" y="2184400"/>
          <a:ext cx="1406525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56A8842-2C0E-CB34-F98B-C4CBC45671E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817225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9B86B2-2D88-4B34-98AD-813BC944868E}" type="datetime'2''''''''''''''''''''''''''0''''30'''''''''''''''''">
              <a:rPr lang="en-US" altLang="en-US" sz="1600" smtClean="0"/>
              <a:pPr/>
              <a:t>2030</a:t>
            </a:fld>
            <a:endParaRPr lang="en-US" sz="16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0AE4092C-689A-C920-38D5-BE6088C6354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196513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962C77-2C6E-4F23-A772-0984B8F648F2}" type="datetime'''''''2''''0''''2''''0'''''''''''">
              <a:rPr lang="en-US" altLang="en-US" sz="1600" smtClean="0"/>
              <a:pPr/>
              <a:t>2020</a:t>
            </a:fld>
            <a:endParaRPr lang="en-US" sz="1600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1B449A1-65E5-8559-8A86-288D2E04B534}"/>
              </a:ext>
            </a:extLst>
          </p:cNvPr>
          <p:cNvSpPr/>
          <p:nvPr/>
        </p:nvSpPr>
        <p:spPr>
          <a:xfrm>
            <a:off x="8538221" y="1720545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Lithium</a:t>
            </a:r>
          </a:p>
        </p:txBody>
      </p:sp>
      <p:graphicFrame>
        <p:nvGraphicFramePr>
          <p:cNvPr id="104" name="Chart 103">
            <a:extLst>
              <a:ext uri="{FF2B5EF4-FFF2-40B4-BE49-F238E27FC236}">
                <a16:creationId xmlns:a16="http://schemas.microsoft.com/office/drawing/2014/main" id="{6E76E975-7974-8B7A-19D0-867E75514406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71158879"/>
              </p:ext>
            </p:extLst>
          </p:nvPr>
        </p:nvGraphicFramePr>
        <p:xfrm>
          <a:off x="8334375" y="2184400"/>
          <a:ext cx="1406525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C7D6F61-544F-0B90-EF3C-CCC86AF1A3E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94713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C645F7-FF05-414A-93D5-E3A6B3396A12}" type="datetime'''''''''''''2''''''''''''''''''''''0''2''''0'''''''''">
              <a:rPr lang="en-US" altLang="en-US" sz="1600" smtClean="0"/>
              <a:pPr/>
              <a:t>2020</a:t>
            </a:fld>
            <a:endParaRPr lang="en-US" sz="16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8669669-2F1D-1844-0D61-2452A53D94A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15425" y="369411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58B846-1BC4-4A76-8ED7-267E22CB9C8B}" type="datetime'''''''''''''''''''''''''2''''''''''''''0''3''''''''''''0'''">
              <a:rPr lang="en-US" altLang="en-US" sz="1600" smtClean="0"/>
              <a:pPr/>
              <a:t>2030</a:t>
            </a:fld>
            <a:endParaRPr lang="en-US" sz="16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77C93F0-7935-2544-6DD7-316D42AA0E38}"/>
              </a:ext>
            </a:extLst>
          </p:cNvPr>
          <p:cNvSpPr/>
          <p:nvPr/>
        </p:nvSpPr>
        <p:spPr>
          <a:xfrm>
            <a:off x="10163821" y="1720545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obalt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7FBDF2B-19D1-8429-5589-421F0C585FF1}"/>
              </a:ext>
            </a:extLst>
          </p:cNvPr>
          <p:cNvSpPr txBox="1"/>
          <p:nvPr/>
        </p:nvSpPr>
        <p:spPr>
          <a:xfrm>
            <a:off x="5206938" y="4908739"/>
            <a:ext cx="14303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600" b="1" dirty="0">
                <a:solidFill>
                  <a:srgbClr val="000000"/>
                </a:solidFill>
                <a:latin typeface="Graphik"/>
              </a:rPr>
              <a:t>Supply concentration</a:t>
            </a:r>
          </a:p>
          <a:p>
            <a:pPr algn="l" fontAlgn="base"/>
            <a:r>
              <a:rPr lang="es-ES" sz="1600" b="1" dirty="0">
                <a:solidFill>
                  <a:srgbClr val="000000"/>
                </a:solidFill>
                <a:latin typeface="Graphik"/>
              </a:rPr>
              <a:t>(</a:t>
            </a:r>
            <a:r>
              <a:rPr lang="es-ES" sz="1600" b="1" dirty="0" err="1">
                <a:solidFill>
                  <a:srgbClr val="000000"/>
                </a:solidFill>
                <a:latin typeface="Graphik"/>
              </a:rPr>
              <a:t>Extraction</a:t>
            </a:r>
            <a:r>
              <a:rPr lang="es-ES" sz="1600" b="1" dirty="0">
                <a:solidFill>
                  <a:srgbClr val="000000"/>
                </a:solidFill>
                <a:latin typeface="Graphik"/>
              </a:rPr>
              <a:t> &amp; Processing) </a:t>
            </a:r>
            <a:endParaRPr lang="en-US" sz="1600" b="1" i="0" dirty="0">
              <a:solidFill>
                <a:srgbClr val="000000"/>
              </a:solidFill>
              <a:effectLst/>
              <a:latin typeface="Graphik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CBEE8AB9-E0AF-974F-A341-3A9C4415CC5B}"/>
              </a:ext>
            </a:extLst>
          </p:cNvPr>
          <p:cNvSpPr/>
          <p:nvPr/>
        </p:nvSpPr>
        <p:spPr>
          <a:xfrm>
            <a:off x="6763396" y="504780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28%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4BDF9E5-12D4-9DA2-2884-B6210EAEA183}"/>
              </a:ext>
            </a:extLst>
          </p:cNvPr>
          <p:cNvSpPr/>
          <p:nvPr/>
        </p:nvSpPr>
        <p:spPr>
          <a:xfrm>
            <a:off x="8538221" y="504780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52%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BDBF698-C8B7-1B44-3DCC-65C5A5AE3F34}"/>
              </a:ext>
            </a:extLst>
          </p:cNvPr>
          <p:cNvSpPr/>
          <p:nvPr/>
        </p:nvSpPr>
        <p:spPr>
          <a:xfrm>
            <a:off x="10163821" y="504780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70%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7AC2AB58-9E5F-C3A7-7495-D6FD4B42ED7A}"/>
              </a:ext>
            </a:extLst>
          </p:cNvPr>
          <p:cNvSpPr/>
          <p:nvPr/>
        </p:nvSpPr>
        <p:spPr>
          <a:xfrm>
            <a:off x="6763396" y="568067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40%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D9AD42B1-D08B-273F-24B6-5CF0B9144C03}"/>
              </a:ext>
            </a:extLst>
          </p:cNvPr>
          <p:cNvSpPr/>
          <p:nvPr/>
        </p:nvSpPr>
        <p:spPr>
          <a:xfrm>
            <a:off x="8538221" y="568067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58%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96AE54A-2502-8EFE-1ACE-DDDA2D978281}"/>
              </a:ext>
            </a:extLst>
          </p:cNvPr>
          <p:cNvSpPr/>
          <p:nvPr/>
        </p:nvSpPr>
        <p:spPr>
          <a:xfrm>
            <a:off x="10163821" y="5680672"/>
            <a:ext cx="10795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65%</a:t>
            </a:r>
          </a:p>
        </p:txBody>
      </p:sp>
      <p:pic>
        <p:nvPicPr>
          <p:cNvPr id="5" name="Grafik 3">
            <a:extLst>
              <a:ext uri="{FF2B5EF4-FFF2-40B4-BE49-F238E27FC236}">
                <a16:creationId xmlns:a16="http://schemas.microsoft.com/office/drawing/2014/main" id="{81CFD42A-212A-22CB-92CD-1302A797D5D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388" y="4954403"/>
            <a:ext cx="382668" cy="309034"/>
          </a:xfrm>
          <a:prstGeom prst="rect">
            <a:avLst/>
          </a:prstGeom>
          <a:ln w="6350" cap="flat" cmpd="sng" algn="ctr">
            <a:solidFill>
              <a:srgbClr val="808080">
                <a:alpha val="20000"/>
              </a:srgbClr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6" name="Grafik 3">
            <a:extLst>
              <a:ext uri="{FF2B5EF4-FFF2-40B4-BE49-F238E27FC236}">
                <a16:creationId xmlns:a16="http://schemas.microsoft.com/office/drawing/2014/main" id="{C959A4FF-58AD-D854-8046-D5DABCDBAD7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912" y="4954403"/>
            <a:ext cx="463550" cy="309034"/>
          </a:xfrm>
          <a:prstGeom prst="rect">
            <a:avLst/>
          </a:prstGeom>
          <a:ln w="6350" cap="flat" cmpd="sng" algn="ctr">
            <a:solidFill>
              <a:srgbClr val="808080">
                <a:alpha val="20000"/>
              </a:srgbClr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0" name="Grafik 3">
            <a:extLst>
              <a:ext uri="{FF2B5EF4-FFF2-40B4-BE49-F238E27FC236}">
                <a16:creationId xmlns:a16="http://schemas.microsoft.com/office/drawing/2014/main" id="{9F6686DA-8550-61C1-7899-2066B6122952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388" y="5587274"/>
            <a:ext cx="463550" cy="309034"/>
          </a:xfrm>
          <a:prstGeom prst="rect">
            <a:avLst/>
          </a:prstGeom>
          <a:ln w="6350" cap="flat" cmpd="sng" algn="ctr">
            <a:solidFill>
              <a:srgbClr val="808080">
                <a:alpha val="20000"/>
              </a:srgbClr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2" name="Grafik 3">
            <a:extLst>
              <a:ext uri="{FF2B5EF4-FFF2-40B4-BE49-F238E27FC236}">
                <a16:creationId xmlns:a16="http://schemas.microsoft.com/office/drawing/2014/main" id="{52B0C5AA-97CA-99B8-CE3B-F97019F98FB8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109" y="5587274"/>
            <a:ext cx="463550" cy="309034"/>
          </a:xfrm>
          <a:prstGeom prst="rect">
            <a:avLst/>
          </a:prstGeom>
          <a:ln w="6350" cap="flat" cmpd="sng" algn="ctr">
            <a:solidFill>
              <a:srgbClr val="808080">
                <a:alpha val="20000"/>
              </a:srgbClr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3" name="Grafik 3">
            <a:extLst>
              <a:ext uri="{FF2B5EF4-FFF2-40B4-BE49-F238E27FC236}">
                <a16:creationId xmlns:a16="http://schemas.microsoft.com/office/drawing/2014/main" id="{D83BA148-7944-23C2-C61D-112616B06C7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7912" y="5587274"/>
            <a:ext cx="463550" cy="309034"/>
          </a:xfrm>
          <a:prstGeom prst="rect">
            <a:avLst/>
          </a:prstGeom>
          <a:ln w="6350" cap="flat" cmpd="sng" algn="ctr">
            <a:solidFill>
              <a:srgbClr val="808080">
                <a:alpha val="20000"/>
              </a:srgbClr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97BEA16-4C3A-D4B3-95B1-386E663CF2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109" y="4954403"/>
            <a:ext cx="463550" cy="30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1E614C40-089A-5F1F-AD49-5A7849EEC7A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13049246"/>
              </p:ext>
            </p:extLst>
          </p:nvPr>
        </p:nvGraphicFramePr>
        <p:xfrm>
          <a:off x="755650" y="3079750"/>
          <a:ext cx="113665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E03D338-C0DA-6C22-DA68-D7175CE0DFA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49313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3EF6F5-FA41-46EA-8E01-C54CAC50983D}" type="datetime'2''''''''''''''''''''''''''''''0''''21'''''''''''''''''">
              <a:rPr lang="en-US" altLang="en-US" sz="1600" smtClean="0"/>
              <a:pPr/>
              <a:t>2021</a:t>
            </a:fld>
            <a:endParaRPr lang="en-US" sz="16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D65FD6A-5A69-430D-3C14-3279CD7D1345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335088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53B1BD-B9A7-4ABC-A6F4-F91346D6129E}" type="datetime'''''''''2''''''0''''''''''''3''''''''''''''0'">
              <a:rPr lang="en-US" altLang="en-US" sz="1600" smtClean="0"/>
              <a:pPr/>
              <a:t>2030</a:t>
            </a:fld>
            <a:endParaRPr lang="en-US" sz="1600" dirty="0"/>
          </a:p>
        </p:txBody>
      </p:sp>
      <p:grpSp>
        <p:nvGrpSpPr>
          <p:cNvPr id="1027" name="Group 1026">
            <a:extLst>
              <a:ext uri="{FF2B5EF4-FFF2-40B4-BE49-F238E27FC236}">
                <a16:creationId xmlns:a16="http://schemas.microsoft.com/office/drawing/2014/main" id="{54023DFD-036E-649E-1427-07DEDD1DA6A7}"/>
              </a:ext>
            </a:extLst>
          </p:cNvPr>
          <p:cNvGrpSpPr>
            <a:grpSpLocks noChangeAspect="1"/>
          </p:cNvGrpSpPr>
          <p:nvPr/>
        </p:nvGrpSpPr>
        <p:grpSpPr>
          <a:xfrm>
            <a:off x="905618" y="2078038"/>
            <a:ext cx="805705" cy="806450"/>
            <a:chOff x="5273801" y="2606040"/>
            <a:chExt cx="1644396" cy="1645920"/>
          </a:xfrm>
        </p:grpSpPr>
        <p:sp>
          <p:nvSpPr>
            <p:cNvPr id="1028" name="AutoShape 13">
              <a:extLst>
                <a:ext uri="{FF2B5EF4-FFF2-40B4-BE49-F238E27FC236}">
                  <a16:creationId xmlns:a16="http://schemas.microsoft.com/office/drawing/2014/main" id="{24536D16-BF03-2FE0-3992-624EFFD1236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29" name="Group 1028">
              <a:extLst>
                <a:ext uri="{FF2B5EF4-FFF2-40B4-BE49-F238E27FC236}">
                  <a16:creationId xmlns:a16="http://schemas.microsoft.com/office/drawing/2014/main" id="{1B2114B9-D75C-38BC-75CF-3691204FD29D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1030" name="Freeform 15">
                <a:extLst>
                  <a:ext uri="{FF2B5EF4-FFF2-40B4-BE49-F238E27FC236}">
                    <a16:creationId xmlns:a16="http://schemas.microsoft.com/office/drawing/2014/main" id="{D1337428-4360-14FA-3841-67A47333D9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031" name="Freeform 16">
                <a:extLst>
                  <a:ext uri="{FF2B5EF4-FFF2-40B4-BE49-F238E27FC236}">
                    <a16:creationId xmlns:a16="http://schemas.microsoft.com/office/drawing/2014/main" id="{DEAF63F0-C825-76F9-6F30-9784E6DB94E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03F21595-8949-CC46-CE03-D0CA88151816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23413344"/>
              </p:ext>
            </p:extLst>
          </p:nvPr>
        </p:nvGraphicFramePr>
        <p:xfrm>
          <a:off x="2132013" y="3079750"/>
          <a:ext cx="113665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051" name="Text Placeholder 2">
            <a:extLst>
              <a:ext uri="{FF2B5EF4-FFF2-40B4-BE49-F238E27FC236}">
                <a16:creationId xmlns:a16="http://schemas.microsoft.com/office/drawing/2014/main" id="{A0A9620B-6A7C-C73A-7FFC-E040E4A9579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225675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31D878-82AF-4C00-9879-D8BE38C0C102}" type="datetime'2''''''0''''''''''2''''''''''''''''''''1'''''''''''''''">
              <a:rPr lang="en-US" altLang="en-US" sz="1600" smtClean="0"/>
              <a:pPr/>
              <a:t>2021</a:t>
            </a:fld>
            <a:endParaRPr lang="en-US" sz="1600" dirty="0"/>
          </a:p>
        </p:txBody>
      </p:sp>
      <p:sp>
        <p:nvSpPr>
          <p:cNvPr id="1052" name="Text Placeholder 2">
            <a:extLst>
              <a:ext uri="{FF2B5EF4-FFF2-40B4-BE49-F238E27FC236}">
                <a16:creationId xmlns:a16="http://schemas.microsoft.com/office/drawing/2014/main" id="{9F1DECB0-88A2-FC6A-F4C7-F61158EF3F3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711450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273FDE-9392-4831-8830-7500FA64ED27}" type="datetime'2''''''''''''''''''''0''''''''''3''''''''''''''0'''''">
              <a:rPr lang="en-US" altLang="en-US" sz="1600" smtClean="0"/>
              <a:pPr/>
              <a:t>2030</a:t>
            </a:fld>
            <a:endParaRPr lang="en-US" sz="1600" dirty="0"/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FE9B4BD5-FDA9-C6BD-F54D-A20D8FB525B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71798816"/>
              </p:ext>
            </p:extLst>
          </p:nvPr>
        </p:nvGraphicFramePr>
        <p:xfrm>
          <a:off x="3497263" y="3079750"/>
          <a:ext cx="113665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065" name="Text Placeholder 2">
            <a:extLst>
              <a:ext uri="{FF2B5EF4-FFF2-40B4-BE49-F238E27FC236}">
                <a16:creationId xmlns:a16="http://schemas.microsoft.com/office/drawing/2014/main" id="{FF14AFD1-0B0D-38E6-F718-0C426258E06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076700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6226C6-E306-43E2-9353-A6E8625D29F9}" type="datetime'''''''2''''''''''''''''0''3''''''''''''''''''''''''''''0'">
              <a:rPr lang="en-US" altLang="en-US" sz="1600" smtClean="0"/>
              <a:pPr/>
              <a:t>2030</a:t>
            </a:fld>
            <a:endParaRPr lang="en-US" sz="1600" dirty="0"/>
          </a:p>
        </p:txBody>
      </p:sp>
      <p:sp>
        <p:nvSpPr>
          <p:cNvPr id="1064" name="Text Placeholder 2">
            <a:extLst>
              <a:ext uri="{FF2B5EF4-FFF2-40B4-BE49-F238E27FC236}">
                <a16:creationId xmlns:a16="http://schemas.microsoft.com/office/drawing/2014/main" id="{6151F6D6-2957-BD0D-4380-A27BF6A0401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590925" y="4589463"/>
            <a:ext cx="463550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E986C7-8C13-4AF3-9BCA-648C115CE7BB}" type="datetime'''''''2''''''''0''2''''''1'''''''''">
              <a:rPr lang="en-US" altLang="en-US" sz="1600" smtClean="0"/>
              <a:pPr/>
              <a:t>2021</a:t>
            </a:fld>
            <a:endParaRPr lang="en-US" sz="16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5D73332-33F7-DB04-C255-56FCB184034C}"/>
              </a:ext>
            </a:extLst>
          </p:cNvPr>
          <p:cNvGrpSpPr>
            <a:grpSpLocks noChangeAspect="1"/>
          </p:cNvGrpSpPr>
          <p:nvPr/>
        </p:nvGrpSpPr>
        <p:grpSpPr>
          <a:xfrm>
            <a:off x="2303165" y="2078038"/>
            <a:ext cx="805705" cy="806450"/>
            <a:chOff x="5273801" y="2606040"/>
            <a:chExt cx="1644396" cy="1645920"/>
          </a:xfrm>
        </p:grpSpPr>
        <p:sp>
          <p:nvSpPr>
            <p:cNvPr id="9" name="AutoShape 8">
              <a:extLst>
                <a:ext uri="{FF2B5EF4-FFF2-40B4-BE49-F238E27FC236}">
                  <a16:creationId xmlns:a16="http://schemas.microsoft.com/office/drawing/2014/main" id="{5E3CB418-1E43-47D0-4A8B-334F318C4E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EB04D94-8792-15FE-B902-D020E6F07504}"/>
                </a:ext>
              </a:extLst>
            </p:cNvPr>
            <p:cNvGrpSpPr/>
            <p:nvPr/>
          </p:nvGrpSpPr>
          <p:grpSpPr>
            <a:xfrm>
              <a:off x="5542025" y="2671191"/>
              <a:ext cx="1102995" cy="1459230"/>
              <a:chOff x="5542025" y="2671191"/>
              <a:chExt cx="1102995" cy="1459230"/>
            </a:xfrm>
          </p:grpSpPr>
          <p:sp>
            <p:nvSpPr>
              <p:cNvPr id="16" name="Freeform 10">
                <a:extLst>
                  <a:ext uri="{FF2B5EF4-FFF2-40B4-BE49-F238E27FC236}">
                    <a16:creationId xmlns:a16="http://schemas.microsoft.com/office/drawing/2014/main" id="{4D2BCC25-25F8-1FA2-ED43-19C87A825C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2025" y="2671191"/>
                <a:ext cx="1102995" cy="1459230"/>
              </a:xfrm>
              <a:custGeom>
                <a:avLst/>
                <a:gdLst>
                  <a:gd name="T0" fmla="*/ 1231 w 1545"/>
                  <a:gd name="T1" fmla="*/ 1913 h 2043"/>
                  <a:gd name="T2" fmla="*/ 1231 w 1545"/>
                  <a:gd name="T3" fmla="*/ 2020 h 2043"/>
                  <a:gd name="T4" fmla="*/ 1208 w 1545"/>
                  <a:gd name="T5" fmla="*/ 2043 h 2043"/>
                  <a:gd name="T6" fmla="*/ 343 w 1545"/>
                  <a:gd name="T7" fmla="*/ 2043 h 2043"/>
                  <a:gd name="T8" fmla="*/ 320 w 1545"/>
                  <a:gd name="T9" fmla="*/ 2020 h 2043"/>
                  <a:gd name="T10" fmla="*/ 320 w 1545"/>
                  <a:gd name="T11" fmla="*/ 1913 h 2043"/>
                  <a:gd name="T12" fmla="*/ 343 w 1545"/>
                  <a:gd name="T13" fmla="*/ 1890 h 2043"/>
                  <a:gd name="T14" fmla="*/ 397 w 1545"/>
                  <a:gd name="T15" fmla="*/ 1890 h 2043"/>
                  <a:gd name="T16" fmla="*/ 397 w 1545"/>
                  <a:gd name="T17" fmla="*/ 1848 h 2043"/>
                  <a:gd name="T18" fmla="*/ 420 w 1545"/>
                  <a:gd name="T19" fmla="*/ 1825 h 2043"/>
                  <a:gd name="T20" fmla="*/ 1130 w 1545"/>
                  <a:gd name="T21" fmla="*/ 1825 h 2043"/>
                  <a:gd name="T22" fmla="*/ 1153 w 1545"/>
                  <a:gd name="T23" fmla="*/ 1848 h 2043"/>
                  <a:gd name="T24" fmla="*/ 1153 w 1545"/>
                  <a:gd name="T25" fmla="*/ 1890 h 2043"/>
                  <a:gd name="T26" fmla="*/ 1208 w 1545"/>
                  <a:gd name="T27" fmla="*/ 1890 h 2043"/>
                  <a:gd name="T28" fmla="*/ 1231 w 1545"/>
                  <a:gd name="T29" fmla="*/ 1913 h 2043"/>
                  <a:gd name="T30" fmla="*/ 1545 w 1545"/>
                  <a:gd name="T31" fmla="*/ 1334 h 2043"/>
                  <a:gd name="T32" fmla="*/ 1415 w 1545"/>
                  <a:gd name="T33" fmla="*/ 1416 h 2043"/>
                  <a:gd name="T34" fmla="*/ 848 w 1545"/>
                  <a:gd name="T35" fmla="*/ 1159 h 2043"/>
                  <a:gd name="T36" fmla="*/ 811 w 1545"/>
                  <a:gd name="T37" fmla="*/ 1021 h 2043"/>
                  <a:gd name="T38" fmla="*/ 776 w 1545"/>
                  <a:gd name="T39" fmla="*/ 1025 h 2043"/>
                  <a:gd name="T40" fmla="*/ 658 w 1545"/>
                  <a:gd name="T41" fmla="*/ 957 h 2043"/>
                  <a:gd name="T42" fmla="*/ 6 w 1545"/>
                  <a:gd name="T43" fmla="*/ 1334 h 2043"/>
                  <a:gd name="T44" fmla="*/ 0 w 1545"/>
                  <a:gd name="T45" fmla="*/ 1179 h 2043"/>
                  <a:gd name="T46" fmla="*/ 506 w 1545"/>
                  <a:gd name="T47" fmla="*/ 817 h 2043"/>
                  <a:gd name="T48" fmla="*/ 644 w 1545"/>
                  <a:gd name="T49" fmla="*/ 854 h 2043"/>
                  <a:gd name="T50" fmla="*/ 776 w 1545"/>
                  <a:gd name="T51" fmla="*/ 753 h 2043"/>
                  <a:gd name="T52" fmla="*/ 776 w 1545"/>
                  <a:gd name="T53" fmla="*/ 753 h 2043"/>
                  <a:gd name="T54" fmla="*/ 776 w 1545"/>
                  <a:gd name="T55" fmla="*/ 0 h 2043"/>
                  <a:gd name="T56" fmla="*/ 912 w 1545"/>
                  <a:gd name="T57" fmla="*/ 72 h 2043"/>
                  <a:gd name="T58" fmla="*/ 973 w 1545"/>
                  <a:gd name="T59" fmla="*/ 692 h 2043"/>
                  <a:gd name="T60" fmla="*/ 872 w 1545"/>
                  <a:gd name="T61" fmla="*/ 793 h 2043"/>
                  <a:gd name="T62" fmla="*/ 912 w 1545"/>
                  <a:gd name="T63" fmla="*/ 889 h 2043"/>
                  <a:gd name="T64" fmla="*/ 893 w 1545"/>
                  <a:gd name="T65" fmla="*/ 957 h 2043"/>
                  <a:gd name="T66" fmla="*/ 1545 w 1545"/>
                  <a:gd name="T67" fmla="*/ 1334 h 2043"/>
                  <a:gd name="T68" fmla="*/ 776 w 1545"/>
                  <a:gd name="T69" fmla="*/ 981 h 2043"/>
                  <a:gd name="T70" fmla="*/ 868 w 1545"/>
                  <a:gd name="T71" fmla="*/ 889 h 2043"/>
                  <a:gd name="T72" fmla="*/ 776 w 1545"/>
                  <a:gd name="T73" fmla="*/ 797 h 2043"/>
                  <a:gd name="T74" fmla="*/ 684 w 1545"/>
                  <a:gd name="T75" fmla="*/ 889 h 2043"/>
                  <a:gd name="T76" fmla="*/ 776 w 1545"/>
                  <a:gd name="T77" fmla="*/ 981 h 20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545" h="2043">
                    <a:moveTo>
                      <a:pt x="1231" y="1913"/>
                    </a:moveTo>
                    <a:cubicBezTo>
                      <a:pt x="1231" y="2020"/>
                      <a:pt x="1231" y="2020"/>
                      <a:pt x="1231" y="2020"/>
                    </a:cubicBezTo>
                    <a:cubicBezTo>
                      <a:pt x="1231" y="2032"/>
                      <a:pt x="1220" y="2043"/>
                      <a:pt x="1208" y="2043"/>
                    </a:cubicBezTo>
                    <a:cubicBezTo>
                      <a:pt x="343" y="2043"/>
                      <a:pt x="343" y="2043"/>
                      <a:pt x="343" y="2043"/>
                    </a:cubicBezTo>
                    <a:cubicBezTo>
                      <a:pt x="330" y="2043"/>
                      <a:pt x="320" y="2032"/>
                      <a:pt x="320" y="2020"/>
                    </a:cubicBezTo>
                    <a:cubicBezTo>
                      <a:pt x="320" y="1913"/>
                      <a:pt x="320" y="1913"/>
                      <a:pt x="320" y="1913"/>
                    </a:cubicBezTo>
                    <a:cubicBezTo>
                      <a:pt x="320" y="1901"/>
                      <a:pt x="330" y="1890"/>
                      <a:pt x="343" y="1890"/>
                    </a:cubicBezTo>
                    <a:cubicBezTo>
                      <a:pt x="397" y="1890"/>
                      <a:pt x="397" y="1890"/>
                      <a:pt x="397" y="1890"/>
                    </a:cubicBezTo>
                    <a:cubicBezTo>
                      <a:pt x="397" y="1848"/>
                      <a:pt x="397" y="1848"/>
                      <a:pt x="397" y="1848"/>
                    </a:cubicBezTo>
                    <a:cubicBezTo>
                      <a:pt x="397" y="1835"/>
                      <a:pt x="407" y="1825"/>
                      <a:pt x="420" y="1825"/>
                    </a:cubicBezTo>
                    <a:cubicBezTo>
                      <a:pt x="1130" y="1825"/>
                      <a:pt x="1130" y="1825"/>
                      <a:pt x="1130" y="1825"/>
                    </a:cubicBezTo>
                    <a:cubicBezTo>
                      <a:pt x="1143" y="1825"/>
                      <a:pt x="1153" y="1835"/>
                      <a:pt x="1153" y="1848"/>
                    </a:cubicBezTo>
                    <a:cubicBezTo>
                      <a:pt x="1153" y="1890"/>
                      <a:pt x="1153" y="1890"/>
                      <a:pt x="1153" y="1890"/>
                    </a:cubicBezTo>
                    <a:cubicBezTo>
                      <a:pt x="1208" y="1890"/>
                      <a:pt x="1208" y="1890"/>
                      <a:pt x="1208" y="1890"/>
                    </a:cubicBezTo>
                    <a:cubicBezTo>
                      <a:pt x="1220" y="1890"/>
                      <a:pt x="1231" y="1901"/>
                      <a:pt x="1231" y="1913"/>
                    </a:cubicBezTo>
                    <a:close/>
                    <a:moveTo>
                      <a:pt x="1545" y="1334"/>
                    </a:moveTo>
                    <a:cubicBezTo>
                      <a:pt x="1415" y="1416"/>
                      <a:pt x="1415" y="1416"/>
                      <a:pt x="1415" y="1416"/>
                    </a:cubicBezTo>
                    <a:cubicBezTo>
                      <a:pt x="848" y="1159"/>
                      <a:pt x="848" y="1159"/>
                      <a:pt x="848" y="1159"/>
                    </a:cubicBezTo>
                    <a:cubicBezTo>
                      <a:pt x="811" y="1021"/>
                      <a:pt x="811" y="1021"/>
                      <a:pt x="811" y="1021"/>
                    </a:cubicBezTo>
                    <a:cubicBezTo>
                      <a:pt x="800" y="1024"/>
                      <a:pt x="788" y="1025"/>
                      <a:pt x="776" y="1025"/>
                    </a:cubicBezTo>
                    <a:cubicBezTo>
                      <a:pt x="725" y="1025"/>
                      <a:pt x="681" y="998"/>
                      <a:pt x="658" y="957"/>
                    </a:cubicBezTo>
                    <a:cubicBezTo>
                      <a:pt x="6" y="1334"/>
                      <a:pt x="6" y="1334"/>
                      <a:pt x="6" y="1334"/>
                    </a:cubicBezTo>
                    <a:cubicBezTo>
                      <a:pt x="0" y="1179"/>
                      <a:pt x="0" y="1179"/>
                      <a:pt x="0" y="1179"/>
                    </a:cubicBezTo>
                    <a:cubicBezTo>
                      <a:pt x="506" y="817"/>
                      <a:pt x="506" y="817"/>
                      <a:pt x="506" y="817"/>
                    </a:cubicBezTo>
                    <a:cubicBezTo>
                      <a:pt x="644" y="854"/>
                      <a:pt x="644" y="854"/>
                      <a:pt x="644" y="854"/>
                    </a:cubicBezTo>
                    <a:cubicBezTo>
                      <a:pt x="660" y="796"/>
                      <a:pt x="713" y="753"/>
                      <a:pt x="776" y="753"/>
                    </a:cubicBezTo>
                    <a:cubicBezTo>
                      <a:pt x="776" y="753"/>
                      <a:pt x="776" y="753"/>
                      <a:pt x="776" y="753"/>
                    </a:cubicBezTo>
                    <a:cubicBezTo>
                      <a:pt x="776" y="0"/>
                      <a:pt x="776" y="0"/>
                      <a:pt x="776" y="0"/>
                    </a:cubicBezTo>
                    <a:cubicBezTo>
                      <a:pt x="912" y="72"/>
                      <a:pt x="912" y="72"/>
                      <a:pt x="912" y="72"/>
                    </a:cubicBezTo>
                    <a:cubicBezTo>
                      <a:pt x="973" y="692"/>
                      <a:pt x="973" y="692"/>
                      <a:pt x="973" y="692"/>
                    </a:cubicBezTo>
                    <a:cubicBezTo>
                      <a:pt x="872" y="793"/>
                      <a:pt x="872" y="793"/>
                      <a:pt x="872" y="793"/>
                    </a:cubicBezTo>
                    <a:cubicBezTo>
                      <a:pt x="896" y="818"/>
                      <a:pt x="912" y="852"/>
                      <a:pt x="912" y="889"/>
                    </a:cubicBezTo>
                    <a:cubicBezTo>
                      <a:pt x="912" y="914"/>
                      <a:pt x="905" y="937"/>
                      <a:pt x="893" y="957"/>
                    </a:cubicBezTo>
                    <a:lnTo>
                      <a:pt x="1545" y="1334"/>
                    </a:lnTo>
                    <a:close/>
                    <a:moveTo>
                      <a:pt x="776" y="981"/>
                    </a:moveTo>
                    <a:cubicBezTo>
                      <a:pt x="826" y="981"/>
                      <a:pt x="868" y="940"/>
                      <a:pt x="868" y="889"/>
                    </a:cubicBezTo>
                    <a:cubicBezTo>
                      <a:pt x="868" y="838"/>
                      <a:pt x="826" y="797"/>
                      <a:pt x="776" y="797"/>
                    </a:cubicBezTo>
                    <a:cubicBezTo>
                      <a:pt x="725" y="797"/>
                      <a:pt x="684" y="838"/>
                      <a:pt x="684" y="889"/>
                    </a:cubicBezTo>
                    <a:cubicBezTo>
                      <a:pt x="684" y="940"/>
                      <a:pt x="725" y="981"/>
                      <a:pt x="776" y="981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7" name="Freeform 11">
                <a:extLst>
                  <a:ext uri="{FF2B5EF4-FFF2-40B4-BE49-F238E27FC236}">
                    <a16:creationId xmlns:a16="http://schemas.microsoft.com/office/drawing/2014/main" id="{2B15B34D-9401-1286-D1BD-C9F8D526FE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75222" y="3276219"/>
                <a:ext cx="240030" cy="664845"/>
              </a:xfrm>
              <a:custGeom>
                <a:avLst/>
                <a:gdLst>
                  <a:gd name="T0" fmla="*/ 169 w 336"/>
                  <a:gd name="T1" fmla="*/ 84 h 931"/>
                  <a:gd name="T2" fmla="*/ 126 w 336"/>
                  <a:gd name="T3" fmla="*/ 42 h 931"/>
                  <a:gd name="T4" fmla="*/ 169 w 336"/>
                  <a:gd name="T5" fmla="*/ 0 h 931"/>
                  <a:gd name="T6" fmla="*/ 211 w 336"/>
                  <a:gd name="T7" fmla="*/ 42 h 931"/>
                  <a:gd name="T8" fmla="*/ 169 w 336"/>
                  <a:gd name="T9" fmla="*/ 84 h 931"/>
                  <a:gd name="T10" fmla="*/ 336 w 336"/>
                  <a:gd name="T11" fmla="*/ 931 h 931"/>
                  <a:gd name="T12" fmla="*/ 273 w 336"/>
                  <a:gd name="T13" fmla="*/ 374 h 931"/>
                  <a:gd name="T14" fmla="*/ 226 w 336"/>
                  <a:gd name="T15" fmla="*/ 353 h 931"/>
                  <a:gd name="T16" fmla="*/ 292 w 336"/>
                  <a:gd name="T17" fmla="*/ 931 h 931"/>
                  <a:gd name="T18" fmla="*/ 336 w 336"/>
                  <a:gd name="T19" fmla="*/ 931 h 931"/>
                  <a:gd name="T20" fmla="*/ 44 w 336"/>
                  <a:gd name="T21" fmla="*/ 931 h 931"/>
                  <a:gd name="T22" fmla="*/ 126 w 336"/>
                  <a:gd name="T23" fmla="*/ 217 h 931"/>
                  <a:gd name="T24" fmla="*/ 84 w 336"/>
                  <a:gd name="T25" fmla="*/ 201 h 931"/>
                  <a:gd name="T26" fmla="*/ 0 w 336"/>
                  <a:gd name="T27" fmla="*/ 931 h 931"/>
                  <a:gd name="T28" fmla="*/ 44 w 336"/>
                  <a:gd name="T29" fmla="*/ 931 h 9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6" h="931">
                    <a:moveTo>
                      <a:pt x="169" y="84"/>
                    </a:moveTo>
                    <a:cubicBezTo>
                      <a:pt x="145" y="84"/>
                      <a:pt x="126" y="66"/>
                      <a:pt x="126" y="42"/>
                    </a:cubicBezTo>
                    <a:cubicBezTo>
                      <a:pt x="126" y="19"/>
                      <a:pt x="145" y="0"/>
                      <a:pt x="169" y="0"/>
                    </a:cubicBezTo>
                    <a:cubicBezTo>
                      <a:pt x="192" y="0"/>
                      <a:pt x="211" y="19"/>
                      <a:pt x="211" y="42"/>
                    </a:cubicBezTo>
                    <a:cubicBezTo>
                      <a:pt x="211" y="66"/>
                      <a:pt x="192" y="84"/>
                      <a:pt x="169" y="84"/>
                    </a:cubicBezTo>
                    <a:close/>
                    <a:moveTo>
                      <a:pt x="336" y="931"/>
                    </a:moveTo>
                    <a:cubicBezTo>
                      <a:pt x="273" y="374"/>
                      <a:pt x="273" y="374"/>
                      <a:pt x="273" y="374"/>
                    </a:cubicBezTo>
                    <a:cubicBezTo>
                      <a:pt x="226" y="353"/>
                      <a:pt x="226" y="353"/>
                      <a:pt x="226" y="353"/>
                    </a:cubicBezTo>
                    <a:cubicBezTo>
                      <a:pt x="292" y="931"/>
                      <a:pt x="292" y="931"/>
                      <a:pt x="292" y="931"/>
                    </a:cubicBezTo>
                    <a:lnTo>
                      <a:pt x="336" y="931"/>
                    </a:lnTo>
                    <a:close/>
                    <a:moveTo>
                      <a:pt x="44" y="931"/>
                    </a:moveTo>
                    <a:cubicBezTo>
                      <a:pt x="126" y="217"/>
                      <a:pt x="126" y="217"/>
                      <a:pt x="126" y="217"/>
                    </a:cubicBezTo>
                    <a:cubicBezTo>
                      <a:pt x="111" y="213"/>
                      <a:pt x="97" y="208"/>
                      <a:pt x="84" y="201"/>
                    </a:cubicBezTo>
                    <a:cubicBezTo>
                      <a:pt x="0" y="931"/>
                      <a:pt x="0" y="931"/>
                      <a:pt x="0" y="931"/>
                    </a:cubicBezTo>
                    <a:lnTo>
                      <a:pt x="44" y="93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C6EA9C4-6DFB-3914-11FC-24039077FAE3}"/>
              </a:ext>
            </a:extLst>
          </p:cNvPr>
          <p:cNvGrpSpPr>
            <a:grpSpLocks noChangeAspect="1"/>
          </p:cNvGrpSpPr>
          <p:nvPr/>
        </p:nvGrpSpPr>
        <p:grpSpPr>
          <a:xfrm>
            <a:off x="3700605" y="2078038"/>
            <a:ext cx="806450" cy="806450"/>
            <a:chOff x="5273675" y="2606675"/>
            <a:chExt cx="1644650" cy="1644650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D502A6AC-D1CB-1F5F-2CF1-93E496AB166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8CE3D1A-5E81-7E95-C8E3-65F9E09B9ECB}"/>
                </a:ext>
              </a:extLst>
            </p:cNvPr>
            <p:cNvGrpSpPr/>
            <p:nvPr/>
          </p:nvGrpSpPr>
          <p:grpSpPr>
            <a:xfrm>
              <a:off x="5546725" y="2960688"/>
              <a:ext cx="1098550" cy="936625"/>
              <a:chOff x="5546725" y="2960688"/>
              <a:chExt cx="1098550" cy="936625"/>
            </a:xfrm>
          </p:grpSpPr>
          <p:sp>
            <p:nvSpPr>
              <p:cNvPr id="22" name="Freeform 5">
                <a:extLst>
                  <a:ext uri="{FF2B5EF4-FFF2-40B4-BE49-F238E27FC236}">
                    <a16:creationId xmlns:a16="http://schemas.microsoft.com/office/drawing/2014/main" id="{049554E7-BF76-CA36-0181-6A5C09155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6725" y="2960688"/>
                <a:ext cx="1098550" cy="936625"/>
              </a:xfrm>
              <a:custGeom>
                <a:avLst/>
                <a:gdLst>
                  <a:gd name="connsiteX0" fmla="*/ 46038 w 1098550"/>
                  <a:gd name="connsiteY0" fmla="*/ 152400 h 936625"/>
                  <a:gd name="connsiteX1" fmla="*/ 46038 w 1098550"/>
                  <a:gd name="connsiteY1" fmla="*/ 635474 h 936625"/>
                  <a:gd name="connsiteX2" fmla="*/ 197366 w 1098550"/>
                  <a:gd name="connsiteY2" fmla="*/ 635474 h 936625"/>
                  <a:gd name="connsiteX3" fmla="*/ 110281 w 1098550"/>
                  <a:gd name="connsiteY3" fmla="*/ 794116 h 936625"/>
                  <a:gd name="connsiteX4" fmla="*/ 46038 w 1098550"/>
                  <a:gd name="connsiteY4" fmla="*/ 794116 h 936625"/>
                  <a:gd name="connsiteX5" fmla="*/ 46038 w 1098550"/>
                  <a:gd name="connsiteY5" fmla="*/ 890588 h 936625"/>
                  <a:gd name="connsiteX6" fmla="*/ 1052513 w 1098550"/>
                  <a:gd name="connsiteY6" fmla="*/ 890588 h 936625"/>
                  <a:gd name="connsiteX7" fmla="*/ 1052513 w 1098550"/>
                  <a:gd name="connsiteY7" fmla="*/ 794116 h 936625"/>
                  <a:gd name="connsiteX8" fmla="*/ 904040 w 1098550"/>
                  <a:gd name="connsiteY8" fmla="*/ 794116 h 936625"/>
                  <a:gd name="connsiteX9" fmla="*/ 988984 w 1098550"/>
                  <a:gd name="connsiteY9" fmla="*/ 635474 h 936625"/>
                  <a:gd name="connsiteX10" fmla="*/ 1052513 w 1098550"/>
                  <a:gd name="connsiteY10" fmla="*/ 635474 h 936625"/>
                  <a:gd name="connsiteX11" fmla="*/ 1052513 w 1098550"/>
                  <a:gd name="connsiteY11" fmla="*/ 152400 h 936625"/>
                  <a:gd name="connsiteX12" fmla="*/ 46038 w 1098550"/>
                  <a:gd name="connsiteY12" fmla="*/ 152400 h 936625"/>
                  <a:gd name="connsiteX13" fmla="*/ 771525 w 1098550"/>
                  <a:gd name="connsiteY13" fmla="*/ 46037 h 936625"/>
                  <a:gd name="connsiteX14" fmla="*/ 771525 w 1098550"/>
                  <a:gd name="connsiteY14" fmla="*/ 92075 h 936625"/>
                  <a:gd name="connsiteX15" fmla="*/ 903288 w 1098550"/>
                  <a:gd name="connsiteY15" fmla="*/ 92075 h 936625"/>
                  <a:gd name="connsiteX16" fmla="*/ 903288 w 1098550"/>
                  <a:gd name="connsiteY16" fmla="*/ 46037 h 936625"/>
                  <a:gd name="connsiteX17" fmla="*/ 771525 w 1098550"/>
                  <a:gd name="connsiteY17" fmla="*/ 46037 h 936625"/>
                  <a:gd name="connsiteX18" fmla="*/ 228600 w 1098550"/>
                  <a:gd name="connsiteY18" fmla="*/ 46037 h 936625"/>
                  <a:gd name="connsiteX19" fmla="*/ 228600 w 1098550"/>
                  <a:gd name="connsiteY19" fmla="*/ 92075 h 936625"/>
                  <a:gd name="connsiteX20" fmla="*/ 360363 w 1098550"/>
                  <a:gd name="connsiteY20" fmla="*/ 92075 h 936625"/>
                  <a:gd name="connsiteX21" fmla="*/ 360363 w 1098550"/>
                  <a:gd name="connsiteY21" fmla="*/ 46037 h 936625"/>
                  <a:gd name="connsiteX22" fmla="*/ 228600 w 1098550"/>
                  <a:gd name="connsiteY22" fmla="*/ 46037 h 936625"/>
                  <a:gd name="connsiteX23" fmla="*/ 182854 w 1098550"/>
                  <a:gd name="connsiteY23" fmla="*/ 0 h 936625"/>
                  <a:gd name="connsiteX24" fmla="*/ 405707 w 1098550"/>
                  <a:gd name="connsiteY24" fmla="*/ 0 h 936625"/>
                  <a:gd name="connsiteX25" fmla="*/ 405707 w 1098550"/>
                  <a:gd name="connsiteY25" fmla="*/ 105817 h 936625"/>
                  <a:gd name="connsiteX26" fmla="*/ 724986 w 1098550"/>
                  <a:gd name="connsiteY26" fmla="*/ 105817 h 936625"/>
                  <a:gd name="connsiteX27" fmla="*/ 724986 w 1098550"/>
                  <a:gd name="connsiteY27" fmla="*/ 0 h 936625"/>
                  <a:gd name="connsiteX28" fmla="*/ 949267 w 1098550"/>
                  <a:gd name="connsiteY28" fmla="*/ 0 h 936625"/>
                  <a:gd name="connsiteX29" fmla="*/ 949267 w 1098550"/>
                  <a:gd name="connsiteY29" fmla="*/ 106532 h 936625"/>
                  <a:gd name="connsiteX30" fmla="*/ 1098550 w 1098550"/>
                  <a:gd name="connsiteY30" fmla="*/ 106532 h 936625"/>
                  <a:gd name="connsiteX31" fmla="*/ 1098550 w 1098550"/>
                  <a:gd name="connsiteY31" fmla="*/ 635618 h 936625"/>
                  <a:gd name="connsiteX32" fmla="*/ 1098550 w 1098550"/>
                  <a:gd name="connsiteY32" fmla="*/ 794344 h 936625"/>
                  <a:gd name="connsiteX33" fmla="*/ 1098550 w 1098550"/>
                  <a:gd name="connsiteY33" fmla="*/ 935910 h 936625"/>
                  <a:gd name="connsiteX34" fmla="*/ 1084979 w 1098550"/>
                  <a:gd name="connsiteY34" fmla="*/ 936625 h 936625"/>
                  <a:gd name="connsiteX35" fmla="*/ 15714 w 1098550"/>
                  <a:gd name="connsiteY35" fmla="*/ 936625 h 936625"/>
                  <a:gd name="connsiteX36" fmla="*/ 0 w 1098550"/>
                  <a:gd name="connsiteY36" fmla="*/ 936625 h 936625"/>
                  <a:gd name="connsiteX37" fmla="*/ 0 w 1098550"/>
                  <a:gd name="connsiteY37" fmla="*/ 107247 h 936625"/>
                  <a:gd name="connsiteX38" fmla="*/ 182854 w 1098550"/>
                  <a:gd name="connsiteY38" fmla="*/ 107247 h 936625"/>
                  <a:gd name="connsiteX39" fmla="*/ 182854 w 1098550"/>
                  <a:gd name="connsiteY39" fmla="*/ 0 h 936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98550" h="936625">
                    <a:moveTo>
                      <a:pt x="46038" y="152400"/>
                    </a:moveTo>
                    <a:cubicBezTo>
                      <a:pt x="46038" y="313186"/>
                      <a:pt x="46038" y="473973"/>
                      <a:pt x="46038" y="635474"/>
                    </a:cubicBezTo>
                    <a:cubicBezTo>
                      <a:pt x="46038" y="635474"/>
                      <a:pt x="46038" y="635474"/>
                      <a:pt x="197366" y="635474"/>
                    </a:cubicBezTo>
                    <a:cubicBezTo>
                      <a:pt x="197366" y="635474"/>
                      <a:pt x="197366" y="635474"/>
                      <a:pt x="110281" y="794116"/>
                    </a:cubicBezTo>
                    <a:cubicBezTo>
                      <a:pt x="110281" y="794116"/>
                      <a:pt x="110281" y="794116"/>
                      <a:pt x="46038" y="794116"/>
                    </a:cubicBezTo>
                    <a:cubicBezTo>
                      <a:pt x="46038" y="826274"/>
                      <a:pt x="46038" y="858431"/>
                      <a:pt x="46038" y="890588"/>
                    </a:cubicBezTo>
                    <a:cubicBezTo>
                      <a:pt x="382244" y="890588"/>
                      <a:pt x="717022" y="890588"/>
                      <a:pt x="1052513" y="890588"/>
                    </a:cubicBezTo>
                    <a:cubicBezTo>
                      <a:pt x="1052513" y="858431"/>
                      <a:pt x="1052513" y="826274"/>
                      <a:pt x="1052513" y="794116"/>
                    </a:cubicBezTo>
                    <a:lnTo>
                      <a:pt x="904040" y="794116"/>
                    </a:lnTo>
                    <a:cubicBezTo>
                      <a:pt x="904040" y="794116"/>
                      <a:pt x="904040" y="794116"/>
                      <a:pt x="988984" y="635474"/>
                    </a:cubicBezTo>
                    <a:cubicBezTo>
                      <a:pt x="988984" y="635474"/>
                      <a:pt x="988984" y="635474"/>
                      <a:pt x="1052513" y="635474"/>
                    </a:cubicBezTo>
                    <a:cubicBezTo>
                      <a:pt x="1052513" y="474687"/>
                      <a:pt x="1052513" y="313186"/>
                      <a:pt x="1052513" y="152400"/>
                    </a:cubicBezTo>
                    <a:cubicBezTo>
                      <a:pt x="716308" y="152400"/>
                      <a:pt x="382244" y="152400"/>
                      <a:pt x="46038" y="152400"/>
                    </a:cubicBezTo>
                    <a:close/>
                    <a:moveTo>
                      <a:pt x="771525" y="46037"/>
                    </a:moveTo>
                    <a:cubicBezTo>
                      <a:pt x="771525" y="62081"/>
                      <a:pt x="771525" y="77427"/>
                      <a:pt x="771525" y="92075"/>
                    </a:cubicBezTo>
                    <a:cubicBezTo>
                      <a:pt x="815446" y="92075"/>
                      <a:pt x="858647" y="92075"/>
                      <a:pt x="903288" y="92075"/>
                    </a:cubicBezTo>
                    <a:cubicBezTo>
                      <a:pt x="903288" y="76729"/>
                      <a:pt x="903288" y="61383"/>
                      <a:pt x="903288" y="46037"/>
                    </a:cubicBezTo>
                    <a:cubicBezTo>
                      <a:pt x="858647" y="46037"/>
                      <a:pt x="814726" y="46037"/>
                      <a:pt x="771525" y="46037"/>
                    </a:cubicBezTo>
                    <a:close/>
                    <a:moveTo>
                      <a:pt x="228600" y="46037"/>
                    </a:moveTo>
                    <a:cubicBezTo>
                      <a:pt x="228600" y="62081"/>
                      <a:pt x="228600" y="76729"/>
                      <a:pt x="228600" y="92075"/>
                    </a:cubicBezTo>
                    <a:cubicBezTo>
                      <a:pt x="272759" y="92075"/>
                      <a:pt x="316205" y="92075"/>
                      <a:pt x="360363" y="92075"/>
                    </a:cubicBezTo>
                    <a:cubicBezTo>
                      <a:pt x="360363" y="76729"/>
                      <a:pt x="360363" y="62081"/>
                      <a:pt x="360363" y="46037"/>
                    </a:cubicBezTo>
                    <a:cubicBezTo>
                      <a:pt x="315493" y="46037"/>
                      <a:pt x="272759" y="46037"/>
                      <a:pt x="228600" y="46037"/>
                    </a:cubicBezTo>
                    <a:close/>
                    <a:moveTo>
                      <a:pt x="182854" y="0"/>
                    </a:moveTo>
                    <a:cubicBezTo>
                      <a:pt x="257138" y="0"/>
                      <a:pt x="330708" y="0"/>
                      <a:pt x="405707" y="0"/>
                    </a:cubicBezTo>
                    <a:cubicBezTo>
                      <a:pt x="405707" y="35034"/>
                      <a:pt x="405707" y="70068"/>
                      <a:pt x="405707" y="105817"/>
                    </a:cubicBezTo>
                    <a:cubicBezTo>
                      <a:pt x="512847" y="105817"/>
                      <a:pt x="618560" y="105817"/>
                      <a:pt x="724986" y="105817"/>
                    </a:cubicBezTo>
                    <a:cubicBezTo>
                      <a:pt x="724986" y="70068"/>
                      <a:pt x="724986" y="35749"/>
                      <a:pt x="724986" y="0"/>
                    </a:cubicBezTo>
                    <a:cubicBezTo>
                      <a:pt x="799985" y="0"/>
                      <a:pt x="872840" y="0"/>
                      <a:pt x="949267" y="0"/>
                    </a:cubicBezTo>
                    <a:cubicBezTo>
                      <a:pt x="949267" y="35034"/>
                      <a:pt x="949267" y="70068"/>
                      <a:pt x="949267" y="106532"/>
                    </a:cubicBezTo>
                    <a:cubicBezTo>
                      <a:pt x="999981" y="106532"/>
                      <a:pt x="1049265" y="106532"/>
                      <a:pt x="1098550" y="106532"/>
                    </a:cubicBezTo>
                    <a:cubicBezTo>
                      <a:pt x="1098550" y="283133"/>
                      <a:pt x="1098550" y="459018"/>
                      <a:pt x="1098550" y="635618"/>
                    </a:cubicBezTo>
                    <a:cubicBezTo>
                      <a:pt x="1098550" y="688527"/>
                      <a:pt x="1098550" y="741435"/>
                      <a:pt x="1098550" y="794344"/>
                    </a:cubicBezTo>
                    <a:cubicBezTo>
                      <a:pt x="1098550" y="841533"/>
                      <a:pt x="1098550" y="888721"/>
                      <a:pt x="1098550" y="935910"/>
                    </a:cubicBezTo>
                    <a:cubicBezTo>
                      <a:pt x="1093550" y="935910"/>
                      <a:pt x="1089265" y="936625"/>
                      <a:pt x="1084979" y="936625"/>
                    </a:cubicBezTo>
                    <a:cubicBezTo>
                      <a:pt x="728557" y="936625"/>
                      <a:pt x="372136" y="936625"/>
                      <a:pt x="15714" y="936625"/>
                    </a:cubicBezTo>
                    <a:cubicBezTo>
                      <a:pt x="10714" y="936625"/>
                      <a:pt x="5714" y="936625"/>
                      <a:pt x="0" y="936625"/>
                    </a:cubicBezTo>
                    <a:cubicBezTo>
                      <a:pt x="0" y="659928"/>
                      <a:pt x="0" y="384660"/>
                      <a:pt x="0" y="107247"/>
                    </a:cubicBezTo>
                    <a:cubicBezTo>
                      <a:pt x="59999" y="107247"/>
                      <a:pt x="120712" y="107247"/>
                      <a:pt x="182854" y="107247"/>
                    </a:cubicBezTo>
                    <a:cubicBezTo>
                      <a:pt x="182854" y="70068"/>
                      <a:pt x="182854" y="35749"/>
                      <a:pt x="182854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85DFDDBD-25D2-865E-4930-D31ECD7228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9287" y="3265488"/>
                <a:ext cx="741362" cy="488950"/>
              </a:xfrm>
              <a:custGeom>
                <a:avLst/>
                <a:gdLst>
                  <a:gd name="connsiteX0" fmla="*/ 627063 w 741362"/>
                  <a:gd name="connsiteY0" fmla="*/ 330200 h 488950"/>
                  <a:gd name="connsiteX1" fmla="*/ 733425 w 741362"/>
                  <a:gd name="connsiteY1" fmla="*/ 330200 h 488950"/>
                  <a:gd name="connsiteX2" fmla="*/ 649288 w 741362"/>
                  <a:gd name="connsiteY2" fmla="*/ 488950 h 488950"/>
                  <a:gd name="connsiteX3" fmla="*/ 539750 w 741362"/>
                  <a:gd name="connsiteY3" fmla="*/ 488950 h 488950"/>
                  <a:gd name="connsiteX4" fmla="*/ 446087 w 741362"/>
                  <a:gd name="connsiteY4" fmla="*/ 330200 h 488950"/>
                  <a:gd name="connsiteX5" fmla="*/ 555625 w 741362"/>
                  <a:gd name="connsiteY5" fmla="*/ 330200 h 488950"/>
                  <a:gd name="connsiteX6" fmla="*/ 468313 w 741362"/>
                  <a:gd name="connsiteY6" fmla="*/ 488950 h 488950"/>
                  <a:gd name="connsiteX7" fmla="*/ 360362 w 741362"/>
                  <a:gd name="connsiteY7" fmla="*/ 488950 h 488950"/>
                  <a:gd name="connsiteX8" fmla="*/ 266700 w 741362"/>
                  <a:gd name="connsiteY8" fmla="*/ 330200 h 488950"/>
                  <a:gd name="connsiteX9" fmla="*/ 374650 w 741362"/>
                  <a:gd name="connsiteY9" fmla="*/ 330200 h 488950"/>
                  <a:gd name="connsiteX10" fmla="*/ 288925 w 741362"/>
                  <a:gd name="connsiteY10" fmla="*/ 488950 h 488950"/>
                  <a:gd name="connsiteX11" fmla="*/ 179387 w 741362"/>
                  <a:gd name="connsiteY11" fmla="*/ 488950 h 488950"/>
                  <a:gd name="connsiteX12" fmla="*/ 85725 w 741362"/>
                  <a:gd name="connsiteY12" fmla="*/ 330200 h 488950"/>
                  <a:gd name="connsiteX13" fmla="*/ 195263 w 741362"/>
                  <a:gd name="connsiteY13" fmla="*/ 330200 h 488950"/>
                  <a:gd name="connsiteX14" fmla="*/ 107951 w 741362"/>
                  <a:gd name="connsiteY14" fmla="*/ 488950 h 488950"/>
                  <a:gd name="connsiteX15" fmla="*/ 0 w 741362"/>
                  <a:gd name="connsiteY15" fmla="*/ 488950 h 488950"/>
                  <a:gd name="connsiteX16" fmla="*/ 566737 w 741362"/>
                  <a:gd name="connsiteY16" fmla="*/ 66675 h 488950"/>
                  <a:gd name="connsiteX17" fmla="*/ 741362 w 741362"/>
                  <a:gd name="connsiteY17" fmla="*/ 66675 h 488950"/>
                  <a:gd name="connsiteX18" fmla="*/ 741362 w 741362"/>
                  <a:gd name="connsiteY18" fmla="*/ 109538 h 488950"/>
                  <a:gd name="connsiteX19" fmla="*/ 566737 w 741362"/>
                  <a:gd name="connsiteY19" fmla="*/ 109538 h 488950"/>
                  <a:gd name="connsiteX20" fmla="*/ 566737 w 741362"/>
                  <a:gd name="connsiteY20" fmla="*/ 66675 h 488950"/>
                  <a:gd name="connsiteX21" fmla="*/ 87918 w 741362"/>
                  <a:gd name="connsiteY21" fmla="*/ 0 h 488950"/>
                  <a:gd name="connsiteX22" fmla="*/ 133618 w 741362"/>
                  <a:gd name="connsiteY22" fmla="*/ 0 h 488950"/>
                  <a:gd name="connsiteX23" fmla="*/ 133618 w 741362"/>
                  <a:gd name="connsiteY23" fmla="*/ 64920 h 488950"/>
                  <a:gd name="connsiteX24" fmla="*/ 200025 w 741362"/>
                  <a:gd name="connsiteY24" fmla="*/ 64920 h 488950"/>
                  <a:gd name="connsiteX25" fmla="*/ 200025 w 741362"/>
                  <a:gd name="connsiteY25" fmla="*/ 109865 h 488950"/>
                  <a:gd name="connsiteX26" fmla="*/ 134332 w 741362"/>
                  <a:gd name="connsiteY26" fmla="*/ 109865 h 488950"/>
                  <a:gd name="connsiteX27" fmla="*/ 134332 w 741362"/>
                  <a:gd name="connsiteY27" fmla="*/ 176213 h 488950"/>
                  <a:gd name="connsiteX28" fmla="*/ 88632 w 741362"/>
                  <a:gd name="connsiteY28" fmla="*/ 176213 h 488950"/>
                  <a:gd name="connsiteX29" fmla="*/ 88632 w 741362"/>
                  <a:gd name="connsiteY29" fmla="*/ 110579 h 488950"/>
                  <a:gd name="connsiteX30" fmla="*/ 22225 w 741362"/>
                  <a:gd name="connsiteY30" fmla="*/ 110579 h 488950"/>
                  <a:gd name="connsiteX31" fmla="*/ 22225 w 741362"/>
                  <a:gd name="connsiteY31" fmla="*/ 65634 h 488950"/>
                  <a:gd name="connsiteX32" fmla="*/ 87918 w 741362"/>
                  <a:gd name="connsiteY32" fmla="*/ 65634 h 488950"/>
                  <a:gd name="connsiteX33" fmla="*/ 87918 w 741362"/>
                  <a:gd name="connsiteY33" fmla="*/ 0 h 48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1362" h="488950">
                    <a:moveTo>
                      <a:pt x="627063" y="330200"/>
                    </a:moveTo>
                    <a:lnTo>
                      <a:pt x="733425" y="330200"/>
                    </a:lnTo>
                    <a:lnTo>
                      <a:pt x="649288" y="488950"/>
                    </a:lnTo>
                    <a:lnTo>
                      <a:pt x="539750" y="488950"/>
                    </a:lnTo>
                    <a:close/>
                    <a:moveTo>
                      <a:pt x="446087" y="330200"/>
                    </a:moveTo>
                    <a:lnTo>
                      <a:pt x="555625" y="330200"/>
                    </a:lnTo>
                    <a:lnTo>
                      <a:pt x="468313" y="488950"/>
                    </a:lnTo>
                    <a:lnTo>
                      <a:pt x="360362" y="488950"/>
                    </a:lnTo>
                    <a:close/>
                    <a:moveTo>
                      <a:pt x="266700" y="330200"/>
                    </a:moveTo>
                    <a:lnTo>
                      <a:pt x="374650" y="330200"/>
                    </a:lnTo>
                    <a:lnTo>
                      <a:pt x="288925" y="488950"/>
                    </a:lnTo>
                    <a:lnTo>
                      <a:pt x="179387" y="488950"/>
                    </a:lnTo>
                    <a:close/>
                    <a:moveTo>
                      <a:pt x="85725" y="330200"/>
                    </a:moveTo>
                    <a:lnTo>
                      <a:pt x="195263" y="330200"/>
                    </a:lnTo>
                    <a:lnTo>
                      <a:pt x="107951" y="488950"/>
                    </a:lnTo>
                    <a:lnTo>
                      <a:pt x="0" y="488950"/>
                    </a:lnTo>
                    <a:close/>
                    <a:moveTo>
                      <a:pt x="566737" y="66675"/>
                    </a:moveTo>
                    <a:cubicBezTo>
                      <a:pt x="624946" y="66675"/>
                      <a:pt x="682444" y="66675"/>
                      <a:pt x="741362" y="66675"/>
                    </a:cubicBezTo>
                    <a:cubicBezTo>
                      <a:pt x="741362" y="80963"/>
                      <a:pt x="741362" y="94536"/>
                      <a:pt x="741362" y="109538"/>
                    </a:cubicBezTo>
                    <a:cubicBezTo>
                      <a:pt x="683154" y="109538"/>
                      <a:pt x="625655" y="109538"/>
                      <a:pt x="566737" y="109538"/>
                    </a:cubicBezTo>
                    <a:cubicBezTo>
                      <a:pt x="566737" y="95250"/>
                      <a:pt x="566737" y="81677"/>
                      <a:pt x="566737" y="66675"/>
                    </a:cubicBezTo>
                    <a:close/>
                    <a:moveTo>
                      <a:pt x="87918" y="0"/>
                    </a:moveTo>
                    <a:cubicBezTo>
                      <a:pt x="103628" y="0"/>
                      <a:pt x="117195" y="0"/>
                      <a:pt x="133618" y="0"/>
                    </a:cubicBezTo>
                    <a:cubicBezTo>
                      <a:pt x="133618" y="21402"/>
                      <a:pt x="133618" y="42091"/>
                      <a:pt x="133618" y="64920"/>
                    </a:cubicBezTo>
                    <a:cubicBezTo>
                      <a:pt x="155754" y="64920"/>
                      <a:pt x="177175" y="64920"/>
                      <a:pt x="200025" y="64920"/>
                    </a:cubicBezTo>
                    <a:cubicBezTo>
                      <a:pt x="200025" y="80616"/>
                      <a:pt x="200025" y="94170"/>
                      <a:pt x="200025" y="109865"/>
                    </a:cubicBezTo>
                    <a:cubicBezTo>
                      <a:pt x="178604" y="109865"/>
                      <a:pt x="157182" y="109865"/>
                      <a:pt x="134332" y="109865"/>
                    </a:cubicBezTo>
                    <a:cubicBezTo>
                      <a:pt x="134332" y="132695"/>
                      <a:pt x="134332" y="154097"/>
                      <a:pt x="134332" y="176213"/>
                    </a:cubicBezTo>
                    <a:cubicBezTo>
                      <a:pt x="117909" y="176213"/>
                      <a:pt x="104342" y="176213"/>
                      <a:pt x="88632" y="176213"/>
                    </a:cubicBezTo>
                    <a:cubicBezTo>
                      <a:pt x="88632" y="154810"/>
                      <a:pt x="88632" y="133408"/>
                      <a:pt x="88632" y="110579"/>
                    </a:cubicBezTo>
                    <a:cubicBezTo>
                      <a:pt x="64355" y="110579"/>
                      <a:pt x="43647" y="110579"/>
                      <a:pt x="22225" y="110579"/>
                    </a:cubicBezTo>
                    <a:cubicBezTo>
                      <a:pt x="22225" y="94884"/>
                      <a:pt x="22225" y="82042"/>
                      <a:pt x="22225" y="65634"/>
                    </a:cubicBezTo>
                    <a:cubicBezTo>
                      <a:pt x="43647" y="65634"/>
                      <a:pt x="64355" y="65634"/>
                      <a:pt x="87918" y="65634"/>
                    </a:cubicBezTo>
                    <a:cubicBezTo>
                      <a:pt x="87918" y="42805"/>
                      <a:pt x="87918" y="22116"/>
                      <a:pt x="8791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333EE5B6-A949-640E-9542-6010AC17DBB2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09639" y="5133975"/>
            <a:ext cx="250825" cy="187325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AD161A3-C2A5-3184-F2B6-232CF3A7ABE2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909639" y="5387975"/>
            <a:ext cx="250825" cy="18732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A84AEFF-53C3-4314-8AFB-AD0D8EA03CB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211264" y="5145088"/>
            <a:ext cx="4730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0D09B6F-185C-488D-9472-87EE5EBA9247}" type="datetime'''''''''T''''''''''''''od''''''''''''ay''''''''''''''''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Today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A84AEFF-53C3-4314-8AFB-AD0D8EA03CB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211263" y="5399088"/>
            <a:ext cx="294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4625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57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4988" indent="-1746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9BBFF0B-7DA0-4721-8E68-AC6C36168ABF}" type="datetime'N''et ''Z''e''''''r''''o'''''''''''' ''Sc''''enari''o'''">
              <a:rPr lang="en-US" altLang="en-US" sz="1400" smtClean="0">
                <a:effectLst/>
              </a:rPr>
              <a:pPr>
                <a:spcBef>
                  <a:spcPct val="0"/>
                </a:spcBef>
                <a:spcAft>
                  <a:spcPct val="0"/>
                </a:spcAft>
              </a:pPr>
              <a:t>Net Zero Scenario</a:t>
            </a:fld>
            <a:r>
              <a:rPr lang="en-US" altLang="en-US" sz="1400" dirty="0">
                <a:effectLst/>
              </a:rPr>
              <a:t> </a:t>
            </a:r>
            <a:r>
              <a:rPr lang="es-ES" altLang="en-US" sz="1400" dirty="0">
                <a:effectLst/>
              </a:rPr>
              <a:t>– Paris </a:t>
            </a:r>
            <a:r>
              <a:rPr lang="es-ES" altLang="en-US" sz="1400" dirty="0" err="1">
                <a:effectLst/>
              </a:rPr>
              <a:t>Agreement</a:t>
            </a:r>
            <a:endParaRPr lang="en-US" sz="1400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DC52740-E018-3711-999D-B2AA16A5FE0C}"/>
              </a:ext>
            </a:extLst>
          </p:cNvPr>
          <p:cNvSpPr txBox="1"/>
          <p:nvPr/>
        </p:nvSpPr>
        <p:spPr>
          <a:xfrm>
            <a:off x="745441" y="1624013"/>
            <a:ext cx="2075441" cy="3079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en-US" sz="1400" i="0" dirty="0">
                <a:solidFill>
                  <a:srgbClr val="000000"/>
                </a:solidFill>
                <a:effectLst/>
                <a:latin typeface="Graphik"/>
              </a:rPr>
              <a:t>Energy installations, GW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C78063-EA05-B018-E6E4-38C23A7112FA}"/>
              </a:ext>
            </a:extLst>
          </p:cNvPr>
          <p:cNvSpPr/>
          <p:nvPr/>
        </p:nvSpPr>
        <p:spPr>
          <a:xfrm>
            <a:off x="5258525" y="1949260"/>
            <a:ext cx="6735547" cy="2357627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974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40" grpId="0"/>
      <p:bldP spid="44" grpId="0"/>
      <p:bldP spid="48" grpId="0"/>
      <p:bldP spid="94" grpId="0"/>
      <p:bldP spid="109" grpId="0"/>
      <p:bldP spid="110" grpId="0"/>
      <p:bldP spid="111" grpId="0"/>
      <p:bldP spid="112" grpId="0"/>
      <p:bldP spid="113" grpId="0"/>
      <p:bldP spid="114" grpId="0"/>
      <p:bldP spid="1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F4C992B-D11C-9123-10C0-B9254D26E9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1176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F4C992B-D11C-9123-10C0-B9254D26E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Arrow: Right 47">
            <a:extLst>
              <a:ext uri="{FF2B5EF4-FFF2-40B4-BE49-F238E27FC236}">
                <a16:creationId xmlns:a16="http://schemas.microsoft.com/office/drawing/2014/main" id="{61A3C7D1-2780-03EF-D87E-1F245A6F9E2A}"/>
              </a:ext>
            </a:extLst>
          </p:cNvPr>
          <p:cNvSpPr/>
          <p:nvPr/>
        </p:nvSpPr>
        <p:spPr>
          <a:xfrm>
            <a:off x="5274131" y="3426113"/>
            <a:ext cx="707190" cy="591797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97E6FF-355D-8A78-809C-D9DB35CFC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w can we maintain the clean energy transition in the face of scarcity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F51B13-43D6-787B-3115-E6E5014187B7}"/>
              </a:ext>
            </a:extLst>
          </p:cNvPr>
          <p:cNvSpPr/>
          <p:nvPr/>
        </p:nvSpPr>
        <p:spPr>
          <a:xfrm>
            <a:off x="9533920" y="3151754"/>
            <a:ext cx="1532215" cy="1145049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28575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6B87AF5-80CB-7EBA-C52D-3932A7C08DB1}"/>
              </a:ext>
            </a:extLst>
          </p:cNvPr>
          <p:cNvSpPr/>
          <p:nvPr/>
        </p:nvSpPr>
        <p:spPr>
          <a:xfrm>
            <a:off x="10092827" y="5019710"/>
            <a:ext cx="695011" cy="267957"/>
          </a:xfrm>
          <a:prstGeom prst="ellipse">
            <a:avLst/>
          </a:prstGeom>
          <a:solidFill>
            <a:srgbClr val="D9D9D9"/>
          </a:solidFill>
          <a:ln w="12700" cap="flat" cmpd="sng" algn="ctr">
            <a:solidFill>
              <a:srgbClr val="4454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9DE89F4E-125B-974A-E85C-363E0345B666}"/>
              </a:ext>
            </a:extLst>
          </p:cNvPr>
          <p:cNvSpPr/>
          <p:nvPr/>
        </p:nvSpPr>
        <p:spPr>
          <a:xfrm rot="5400000">
            <a:off x="10161496" y="4612925"/>
            <a:ext cx="577781" cy="100484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632B5C-8EF9-779F-8815-AD55F729ADB1}"/>
              </a:ext>
            </a:extLst>
          </p:cNvPr>
          <p:cNvSpPr/>
          <p:nvPr/>
        </p:nvSpPr>
        <p:spPr>
          <a:xfrm>
            <a:off x="10383398" y="4529187"/>
            <a:ext cx="970402" cy="26795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ic</a:t>
            </a:r>
            <a:r>
              <a:rPr kumimoji="0" lang="es-ES" sz="1400" b="0" i="0" u="none" strike="noStrike" kern="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kag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0086E43-A485-AADB-45F3-396F5FCF6BDC}"/>
              </a:ext>
            </a:extLst>
          </p:cNvPr>
          <p:cNvSpPr/>
          <p:nvPr/>
        </p:nvSpPr>
        <p:spPr>
          <a:xfrm>
            <a:off x="7959352" y="3755323"/>
            <a:ext cx="926504" cy="690825"/>
          </a:xfrm>
          <a:prstGeom prst="ellipse">
            <a:avLst/>
          </a:prstGeom>
          <a:solidFill>
            <a:srgbClr val="FFC000">
              <a:lumMod val="20000"/>
              <a:lumOff val="80000"/>
            </a:srgbClr>
          </a:solidFill>
          <a:ln w="12700" cap="flat" cmpd="sng" algn="ctr">
            <a:solidFill>
              <a:srgbClr val="FFC000">
                <a:lumMod val="50000"/>
              </a:srgbClr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ondary</a:t>
            </a:r>
            <a:endParaRPr kumimoji="0" lang="es-ES" sz="1400" b="1" i="0" u="none" strike="noStrike" kern="0" cap="none" spc="0" normalizeH="0" baseline="0" noProof="0" dirty="0">
              <a:ln>
                <a:noFill/>
              </a:ln>
              <a:solidFill>
                <a:srgbClr val="FFC00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C000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ly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C000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F80F7414-90D7-151B-9F2E-34CE92CEFE69}"/>
              </a:ext>
            </a:extLst>
          </p:cNvPr>
          <p:cNvSpPr/>
          <p:nvPr/>
        </p:nvSpPr>
        <p:spPr>
          <a:xfrm>
            <a:off x="8910475" y="3347139"/>
            <a:ext cx="578742" cy="155611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1BCB6403-6E41-177C-A9C3-EBC55C7D0CBA}"/>
              </a:ext>
            </a:extLst>
          </p:cNvPr>
          <p:cNvSpPr/>
          <p:nvPr/>
        </p:nvSpPr>
        <p:spPr>
          <a:xfrm>
            <a:off x="8910475" y="3775940"/>
            <a:ext cx="578742" cy="451130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Arrow: Curved Left 35">
            <a:extLst>
              <a:ext uri="{FF2B5EF4-FFF2-40B4-BE49-F238E27FC236}">
                <a16:creationId xmlns:a16="http://schemas.microsoft.com/office/drawing/2014/main" id="{71A9D58E-A017-5DA2-42D5-0D82ADAB795C}"/>
              </a:ext>
            </a:extLst>
          </p:cNvPr>
          <p:cNvSpPr/>
          <p:nvPr/>
        </p:nvSpPr>
        <p:spPr>
          <a:xfrm rot="5021219">
            <a:off x="9020381" y="4031929"/>
            <a:ext cx="662129" cy="1515628"/>
          </a:xfrm>
          <a:prstGeom prst="curvedLeftArrow">
            <a:avLst>
              <a:gd name="adj1" fmla="val 25000"/>
              <a:gd name="adj2" fmla="val 51459"/>
              <a:gd name="adj3" fmla="val 26447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6E569FE-86A9-ACE7-F3DA-B7468B2C52D3}"/>
              </a:ext>
            </a:extLst>
          </p:cNvPr>
          <p:cNvSpPr/>
          <p:nvPr/>
        </p:nvSpPr>
        <p:spPr>
          <a:xfrm>
            <a:off x="2421993" y="3151754"/>
            <a:ext cx="1532215" cy="1145049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28575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1503EEC2-B733-AD9C-59F0-11F7DC8851FC}"/>
              </a:ext>
            </a:extLst>
          </p:cNvPr>
          <p:cNvSpPr/>
          <p:nvPr/>
        </p:nvSpPr>
        <p:spPr>
          <a:xfrm>
            <a:off x="1672450" y="3426113"/>
            <a:ext cx="707190" cy="591797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D02781A-EBF4-423E-ECAD-EC67FBFBD6C5}"/>
              </a:ext>
            </a:extLst>
          </p:cNvPr>
          <p:cNvSpPr/>
          <p:nvPr/>
        </p:nvSpPr>
        <p:spPr>
          <a:xfrm>
            <a:off x="3104945" y="4997437"/>
            <a:ext cx="849263" cy="290230"/>
          </a:xfrm>
          <a:prstGeom prst="ellipse">
            <a:avLst/>
          </a:prstGeom>
          <a:solidFill>
            <a:srgbClr val="D9D9D9"/>
          </a:solidFill>
          <a:ln w="12700" cap="flat" cmpd="sng" algn="ctr">
            <a:solidFill>
              <a:srgbClr val="4454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450F42C0-1BBD-C9E1-A608-EE8810133466}"/>
              </a:ext>
            </a:extLst>
          </p:cNvPr>
          <p:cNvSpPr/>
          <p:nvPr/>
        </p:nvSpPr>
        <p:spPr>
          <a:xfrm rot="5400000">
            <a:off x="3216151" y="4314741"/>
            <a:ext cx="626850" cy="667644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F833B55-B77B-A8F3-0825-C8FC0C08DFD9}"/>
              </a:ext>
            </a:extLst>
          </p:cNvPr>
          <p:cNvSpPr/>
          <p:nvPr/>
        </p:nvSpPr>
        <p:spPr>
          <a:xfrm>
            <a:off x="6026024" y="3151754"/>
            <a:ext cx="1532215" cy="1145049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28575" cap="flat" cmpd="sng" algn="ctr">
            <a:solidFill>
              <a:srgbClr val="70AD47">
                <a:lumMod val="75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4468A96-82CE-065A-1511-BD94E316CA2E}"/>
              </a:ext>
            </a:extLst>
          </p:cNvPr>
          <p:cNvSpPr/>
          <p:nvPr/>
        </p:nvSpPr>
        <p:spPr>
          <a:xfrm>
            <a:off x="6708976" y="4997437"/>
            <a:ext cx="849263" cy="290230"/>
          </a:xfrm>
          <a:prstGeom prst="ellipse">
            <a:avLst/>
          </a:prstGeom>
          <a:solidFill>
            <a:srgbClr val="D9D9D9"/>
          </a:solidFill>
          <a:ln w="12700" cap="flat" cmpd="sng" algn="ctr">
            <a:solidFill>
              <a:srgbClr val="44546A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D25460F9-9938-536B-A7BD-ABA50C597959}"/>
              </a:ext>
            </a:extLst>
          </p:cNvPr>
          <p:cNvSpPr/>
          <p:nvPr/>
        </p:nvSpPr>
        <p:spPr>
          <a:xfrm rot="5400000">
            <a:off x="6820183" y="4314742"/>
            <a:ext cx="626850" cy="667644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9C6A8C7-00E7-6288-7437-A5F383805E59}"/>
              </a:ext>
            </a:extLst>
          </p:cNvPr>
          <p:cNvSpPr/>
          <p:nvPr/>
        </p:nvSpPr>
        <p:spPr>
          <a:xfrm>
            <a:off x="1516385" y="2493085"/>
            <a:ext cx="1811216" cy="3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1" dirty="0" err="1">
                <a:solidFill>
                  <a:schemeClr val="tx2"/>
                </a:solidFill>
              </a:rPr>
              <a:t>Benchmark</a:t>
            </a:r>
            <a:endParaRPr lang="en-US" b="1" i="1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8A8393-EE53-EE3E-4064-FAB8A84594DF}"/>
              </a:ext>
            </a:extLst>
          </p:cNvPr>
          <p:cNvSpPr/>
          <p:nvPr/>
        </p:nvSpPr>
        <p:spPr>
          <a:xfrm>
            <a:off x="4841993" y="2493085"/>
            <a:ext cx="2438038" cy="3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1" dirty="0">
                <a:solidFill>
                  <a:schemeClr val="tx2"/>
                </a:solidFill>
              </a:rPr>
              <a:t>Material </a:t>
            </a:r>
            <a:r>
              <a:rPr lang="es-ES" b="1" i="1" dirty="0" err="1">
                <a:solidFill>
                  <a:schemeClr val="tx2"/>
                </a:solidFill>
              </a:rPr>
              <a:t>Reduction</a:t>
            </a:r>
            <a:endParaRPr lang="en-US" b="1" i="1" dirty="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CA3439-50F3-E54A-1028-0341CA3F6BA7}"/>
              </a:ext>
            </a:extLst>
          </p:cNvPr>
          <p:cNvSpPr/>
          <p:nvPr/>
        </p:nvSpPr>
        <p:spPr>
          <a:xfrm>
            <a:off x="8422604" y="2493085"/>
            <a:ext cx="2438038" cy="3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1" dirty="0">
                <a:solidFill>
                  <a:schemeClr val="tx2"/>
                </a:solidFill>
              </a:rPr>
              <a:t>Urban </a:t>
            </a:r>
            <a:r>
              <a:rPr lang="es-ES" b="1" i="1" dirty="0" err="1">
                <a:solidFill>
                  <a:schemeClr val="tx2"/>
                </a:solidFill>
              </a:rPr>
              <a:t>Mining</a:t>
            </a:r>
            <a:endParaRPr lang="en-US" b="1" i="1" dirty="0">
              <a:solidFill>
                <a:schemeClr val="tx2"/>
              </a:solidFill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3FCE1E4C-68A5-5989-0303-55E86283DD51}"/>
              </a:ext>
            </a:extLst>
          </p:cNvPr>
          <p:cNvSpPr/>
          <p:nvPr/>
        </p:nvSpPr>
        <p:spPr>
          <a:xfrm>
            <a:off x="5276481" y="3426113"/>
            <a:ext cx="707190" cy="591797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7E81BDA0-8223-F722-9720-4ADFEF748A5D}"/>
              </a:ext>
            </a:extLst>
          </p:cNvPr>
          <p:cNvSpPr/>
          <p:nvPr/>
        </p:nvSpPr>
        <p:spPr>
          <a:xfrm>
            <a:off x="5276481" y="3637739"/>
            <a:ext cx="707190" cy="168546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B3D70405-D55E-0E63-B720-3F8B718BE772}"/>
              </a:ext>
            </a:extLst>
          </p:cNvPr>
          <p:cNvSpPr/>
          <p:nvPr/>
        </p:nvSpPr>
        <p:spPr>
          <a:xfrm rot="5400000">
            <a:off x="6821160" y="4326740"/>
            <a:ext cx="630708" cy="641734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F43563A8-C2D0-B6DD-6F86-23B1AE599580}"/>
              </a:ext>
            </a:extLst>
          </p:cNvPr>
          <p:cNvSpPr/>
          <p:nvPr/>
        </p:nvSpPr>
        <p:spPr>
          <a:xfrm rot="5400000">
            <a:off x="6803302" y="4556222"/>
            <a:ext cx="630709" cy="182768"/>
          </a:xfrm>
          <a:prstGeom prst="rightArrow">
            <a:avLst>
              <a:gd name="adj1" fmla="val 50000"/>
              <a:gd name="adj2" fmla="val 25479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1241938-4F50-D568-8843-BC72FCFE1CEB}"/>
              </a:ext>
            </a:extLst>
          </p:cNvPr>
          <p:cNvGrpSpPr>
            <a:grpSpLocks noChangeAspect="1"/>
          </p:cNvGrpSpPr>
          <p:nvPr/>
        </p:nvGrpSpPr>
        <p:grpSpPr>
          <a:xfrm>
            <a:off x="916918" y="3378358"/>
            <a:ext cx="639556" cy="639552"/>
            <a:chOff x="5264945" y="2606834"/>
            <a:chExt cx="1646237" cy="1646237"/>
          </a:xfrm>
        </p:grpSpPr>
        <p:sp>
          <p:nvSpPr>
            <p:cNvPr id="9" name="AutoShape 13">
              <a:extLst>
                <a:ext uri="{FF2B5EF4-FFF2-40B4-BE49-F238E27FC236}">
                  <a16:creationId xmlns:a16="http://schemas.microsoft.com/office/drawing/2014/main" id="{C3772AE2-8A8A-7F8A-9371-81D2705C1E8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4945" y="2606834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BC9D45F-4D63-9DFE-1078-CF2B7C8F9A40}"/>
                </a:ext>
              </a:extLst>
            </p:cNvPr>
            <p:cNvGrpSpPr/>
            <p:nvPr/>
          </p:nvGrpSpPr>
          <p:grpSpPr>
            <a:xfrm>
              <a:off x="5418932" y="2761615"/>
              <a:ext cx="1338262" cy="1336675"/>
              <a:chOff x="5418932" y="2761615"/>
              <a:chExt cx="1338262" cy="1336675"/>
            </a:xfrm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EBFD121A-6DF5-7008-BAD5-4AD6FDD4EB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932" y="2761615"/>
                <a:ext cx="1338262" cy="1336675"/>
              </a:xfrm>
              <a:custGeom>
                <a:avLst/>
                <a:gdLst>
                  <a:gd name="T0" fmla="*/ 261 w 1873"/>
                  <a:gd name="T1" fmla="*/ 1281 h 1872"/>
                  <a:gd name="T2" fmla="*/ 501 w 1873"/>
                  <a:gd name="T3" fmla="*/ 1303 h 1872"/>
                  <a:gd name="T4" fmla="*/ 261 w 1873"/>
                  <a:gd name="T5" fmla="*/ 1325 h 1872"/>
                  <a:gd name="T6" fmla="*/ 23 w 1873"/>
                  <a:gd name="T7" fmla="*/ 1303 h 1872"/>
                  <a:gd name="T8" fmla="*/ 1873 w 1873"/>
                  <a:gd name="T9" fmla="*/ 1849 h 1872"/>
                  <a:gd name="T10" fmla="*/ 1804 w 1873"/>
                  <a:gd name="T11" fmla="*/ 745 h 1872"/>
                  <a:gd name="T12" fmla="*/ 1436 w 1873"/>
                  <a:gd name="T13" fmla="*/ 306 h 1872"/>
                  <a:gd name="T14" fmla="*/ 849 w 1873"/>
                  <a:gd name="T15" fmla="*/ 5 h 1872"/>
                  <a:gd name="T16" fmla="*/ 464 w 1873"/>
                  <a:gd name="T17" fmla="*/ 597 h 1872"/>
                  <a:gd name="T18" fmla="*/ 245 w 1873"/>
                  <a:gd name="T19" fmla="*/ 530 h 1872"/>
                  <a:gd name="T20" fmla="*/ 4 w 1873"/>
                  <a:gd name="T21" fmla="*/ 947 h 1872"/>
                  <a:gd name="T22" fmla="*/ 69 w 1873"/>
                  <a:gd name="T23" fmla="*/ 958 h 1872"/>
                  <a:gd name="T24" fmla="*/ 130 w 1873"/>
                  <a:gd name="T25" fmla="*/ 990 h 1872"/>
                  <a:gd name="T26" fmla="*/ 273 w 1873"/>
                  <a:gd name="T27" fmla="*/ 957 h 1872"/>
                  <a:gd name="T28" fmla="*/ 455 w 1873"/>
                  <a:gd name="T29" fmla="*/ 899 h 1872"/>
                  <a:gd name="T30" fmla="*/ 637 w 1873"/>
                  <a:gd name="T31" fmla="*/ 958 h 1872"/>
                  <a:gd name="T32" fmla="*/ 1351 w 1873"/>
                  <a:gd name="T33" fmla="*/ 954 h 1872"/>
                  <a:gd name="T34" fmla="*/ 1375 w 1873"/>
                  <a:gd name="T35" fmla="*/ 913 h 1872"/>
                  <a:gd name="T36" fmla="*/ 840 w 1873"/>
                  <a:gd name="T37" fmla="*/ 878 h 1872"/>
                  <a:gd name="T38" fmla="*/ 635 w 1873"/>
                  <a:gd name="T39" fmla="*/ 913 h 1872"/>
                  <a:gd name="T40" fmla="*/ 448 w 1873"/>
                  <a:gd name="T41" fmla="*/ 855 h 1872"/>
                  <a:gd name="T42" fmla="*/ 251 w 1873"/>
                  <a:gd name="T43" fmla="*/ 896 h 1872"/>
                  <a:gd name="T44" fmla="*/ 124 w 1873"/>
                  <a:gd name="T45" fmla="*/ 945 h 1872"/>
                  <a:gd name="T46" fmla="*/ 77 w 1873"/>
                  <a:gd name="T47" fmla="*/ 914 h 1872"/>
                  <a:gd name="T48" fmla="*/ 272 w 1873"/>
                  <a:gd name="T49" fmla="*/ 568 h 1872"/>
                  <a:gd name="T50" fmla="*/ 492 w 1873"/>
                  <a:gd name="T51" fmla="*/ 636 h 1872"/>
                  <a:gd name="T52" fmla="*/ 1398 w 1873"/>
                  <a:gd name="T53" fmla="*/ 330 h 1872"/>
                  <a:gd name="T54" fmla="*/ 1511 w 1873"/>
                  <a:gd name="T55" fmla="*/ 602 h 1872"/>
                  <a:gd name="T56" fmla="*/ 1828 w 1873"/>
                  <a:gd name="T57" fmla="*/ 1828 h 1872"/>
                  <a:gd name="T58" fmla="*/ 67 w 1873"/>
                  <a:gd name="T59" fmla="*/ 1688 h 1872"/>
                  <a:gd name="T60" fmla="*/ 350 w 1873"/>
                  <a:gd name="T61" fmla="*/ 1691 h 1872"/>
                  <a:gd name="T62" fmla="*/ 440 w 1873"/>
                  <a:gd name="T63" fmla="*/ 1665 h 1872"/>
                  <a:gd name="T64" fmla="*/ 723 w 1873"/>
                  <a:gd name="T65" fmla="*/ 1714 h 1872"/>
                  <a:gd name="T66" fmla="*/ 1013 w 1873"/>
                  <a:gd name="T67" fmla="*/ 1692 h 1872"/>
                  <a:gd name="T68" fmla="*/ 1038 w 1873"/>
                  <a:gd name="T69" fmla="*/ 1712 h 1872"/>
                  <a:gd name="T70" fmla="*/ 1254 w 1873"/>
                  <a:gd name="T71" fmla="*/ 1668 h 1872"/>
                  <a:gd name="T72" fmla="*/ 1042 w 1873"/>
                  <a:gd name="T73" fmla="*/ 1656 h 1872"/>
                  <a:gd name="T74" fmla="*/ 728 w 1873"/>
                  <a:gd name="T75" fmla="*/ 1671 h 1872"/>
                  <a:gd name="T76" fmla="*/ 442 w 1873"/>
                  <a:gd name="T77" fmla="*/ 1620 h 1872"/>
                  <a:gd name="T78" fmla="*/ 354 w 1873"/>
                  <a:gd name="T79" fmla="*/ 1647 h 1872"/>
                  <a:gd name="T80" fmla="*/ 202 w 1873"/>
                  <a:gd name="T81" fmla="*/ 1613 h 1872"/>
                  <a:gd name="T82" fmla="*/ 23 w 1873"/>
                  <a:gd name="T83" fmla="*/ 1670 h 1872"/>
                  <a:gd name="T84" fmla="*/ 45 w 1873"/>
                  <a:gd name="T85" fmla="*/ 1872 h 1872"/>
                  <a:gd name="T86" fmla="*/ 1867 w 1873"/>
                  <a:gd name="T87" fmla="*/ 1865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73" h="1872">
                    <a:moveTo>
                      <a:pt x="261" y="1239"/>
                    </a:moveTo>
                    <a:cubicBezTo>
                      <a:pt x="261" y="1281"/>
                      <a:pt x="261" y="1281"/>
                      <a:pt x="261" y="1281"/>
                    </a:cubicBezTo>
                    <a:cubicBezTo>
                      <a:pt x="479" y="1281"/>
                      <a:pt x="479" y="1281"/>
                      <a:pt x="479" y="1281"/>
                    </a:cubicBezTo>
                    <a:cubicBezTo>
                      <a:pt x="491" y="1281"/>
                      <a:pt x="501" y="1291"/>
                      <a:pt x="501" y="1303"/>
                    </a:cubicBezTo>
                    <a:cubicBezTo>
                      <a:pt x="501" y="1316"/>
                      <a:pt x="491" y="1325"/>
                      <a:pt x="479" y="1325"/>
                    </a:cubicBezTo>
                    <a:cubicBezTo>
                      <a:pt x="261" y="1325"/>
                      <a:pt x="261" y="1325"/>
                      <a:pt x="261" y="1325"/>
                    </a:cubicBezTo>
                    <a:cubicBezTo>
                      <a:pt x="261" y="1367"/>
                      <a:pt x="261" y="1367"/>
                      <a:pt x="261" y="1367"/>
                    </a:cubicBezTo>
                    <a:cubicBezTo>
                      <a:pt x="23" y="1303"/>
                      <a:pt x="23" y="1303"/>
                      <a:pt x="23" y="1303"/>
                    </a:cubicBezTo>
                    <a:lnTo>
                      <a:pt x="261" y="1239"/>
                    </a:lnTo>
                    <a:close/>
                    <a:moveTo>
                      <a:pt x="1873" y="1849"/>
                    </a:moveTo>
                    <a:cubicBezTo>
                      <a:pt x="1813" y="762"/>
                      <a:pt x="1813" y="762"/>
                      <a:pt x="1813" y="762"/>
                    </a:cubicBezTo>
                    <a:cubicBezTo>
                      <a:pt x="1813" y="755"/>
                      <a:pt x="1809" y="749"/>
                      <a:pt x="1804" y="745"/>
                    </a:cubicBezTo>
                    <a:cubicBezTo>
                      <a:pt x="1541" y="569"/>
                      <a:pt x="1541" y="569"/>
                      <a:pt x="1541" y="569"/>
                    </a:cubicBezTo>
                    <a:cubicBezTo>
                      <a:pt x="1436" y="306"/>
                      <a:pt x="1436" y="306"/>
                      <a:pt x="1436" y="306"/>
                    </a:cubicBezTo>
                    <a:cubicBezTo>
                      <a:pt x="1434" y="301"/>
                      <a:pt x="1430" y="297"/>
                      <a:pt x="1425" y="295"/>
                    </a:cubicBezTo>
                    <a:cubicBezTo>
                      <a:pt x="849" y="5"/>
                      <a:pt x="849" y="5"/>
                      <a:pt x="849" y="5"/>
                    </a:cubicBezTo>
                    <a:cubicBezTo>
                      <a:pt x="838" y="0"/>
                      <a:pt x="826" y="3"/>
                      <a:pt x="820" y="13"/>
                    </a:cubicBezTo>
                    <a:cubicBezTo>
                      <a:pt x="464" y="597"/>
                      <a:pt x="464" y="597"/>
                      <a:pt x="464" y="597"/>
                    </a:cubicBezTo>
                    <a:cubicBezTo>
                      <a:pt x="271" y="521"/>
                      <a:pt x="271" y="521"/>
                      <a:pt x="271" y="521"/>
                    </a:cubicBezTo>
                    <a:cubicBezTo>
                      <a:pt x="261" y="517"/>
                      <a:pt x="250" y="520"/>
                      <a:pt x="245" y="530"/>
                    </a:cubicBezTo>
                    <a:cubicBezTo>
                      <a:pt x="4" y="925"/>
                      <a:pt x="4" y="925"/>
                      <a:pt x="4" y="925"/>
                    </a:cubicBezTo>
                    <a:cubicBezTo>
                      <a:pt x="0" y="931"/>
                      <a:pt x="0" y="940"/>
                      <a:pt x="4" y="947"/>
                    </a:cubicBezTo>
                    <a:cubicBezTo>
                      <a:pt x="8" y="954"/>
                      <a:pt x="15" y="958"/>
                      <a:pt x="23" y="958"/>
                    </a:cubicBezTo>
                    <a:cubicBezTo>
                      <a:pt x="69" y="958"/>
                      <a:pt x="69" y="958"/>
                      <a:pt x="69" y="958"/>
                    </a:cubicBezTo>
                    <a:cubicBezTo>
                      <a:pt x="108" y="987"/>
                      <a:pt x="108" y="987"/>
                      <a:pt x="108" y="987"/>
                    </a:cubicBezTo>
                    <a:cubicBezTo>
                      <a:pt x="114" y="992"/>
                      <a:pt x="123" y="993"/>
                      <a:pt x="130" y="990"/>
                    </a:cubicBezTo>
                    <a:cubicBezTo>
                      <a:pt x="240" y="940"/>
                      <a:pt x="240" y="940"/>
                      <a:pt x="240" y="940"/>
                    </a:cubicBezTo>
                    <a:cubicBezTo>
                      <a:pt x="273" y="957"/>
                      <a:pt x="273" y="957"/>
                      <a:pt x="273" y="957"/>
                    </a:cubicBezTo>
                    <a:cubicBezTo>
                      <a:pt x="278" y="960"/>
                      <a:pt x="285" y="960"/>
                      <a:pt x="290" y="958"/>
                    </a:cubicBezTo>
                    <a:cubicBezTo>
                      <a:pt x="455" y="899"/>
                      <a:pt x="455" y="899"/>
                      <a:pt x="455" y="899"/>
                    </a:cubicBezTo>
                    <a:cubicBezTo>
                      <a:pt x="626" y="957"/>
                      <a:pt x="626" y="957"/>
                      <a:pt x="626" y="957"/>
                    </a:cubicBezTo>
                    <a:cubicBezTo>
                      <a:pt x="630" y="958"/>
                      <a:pt x="634" y="958"/>
                      <a:pt x="637" y="958"/>
                    </a:cubicBezTo>
                    <a:cubicBezTo>
                      <a:pt x="840" y="922"/>
                      <a:pt x="840" y="922"/>
                      <a:pt x="840" y="922"/>
                    </a:cubicBezTo>
                    <a:cubicBezTo>
                      <a:pt x="1351" y="954"/>
                      <a:pt x="1351" y="954"/>
                      <a:pt x="1351" y="954"/>
                    </a:cubicBezTo>
                    <a:cubicBezTo>
                      <a:pt x="1373" y="916"/>
                      <a:pt x="1373" y="916"/>
                      <a:pt x="1373" y="916"/>
                    </a:cubicBezTo>
                    <a:cubicBezTo>
                      <a:pt x="1373" y="915"/>
                      <a:pt x="1374" y="914"/>
                      <a:pt x="1375" y="913"/>
                    </a:cubicBezTo>
                    <a:cubicBezTo>
                      <a:pt x="1375" y="912"/>
                      <a:pt x="1375" y="912"/>
                      <a:pt x="1375" y="912"/>
                    </a:cubicBezTo>
                    <a:cubicBezTo>
                      <a:pt x="840" y="878"/>
                      <a:pt x="840" y="878"/>
                      <a:pt x="840" y="878"/>
                    </a:cubicBezTo>
                    <a:cubicBezTo>
                      <a:pt x="838" y="878"/>
                      <a:pt x="837" y="878"/>
                      <a:pt x="835" y="878"/>
                    </a:cubicBezTo>
                    <a:cubicBezTo>
                      <a:pt x="635" y="913"/>
                      <a:pt x="635" y="913"/>
                      <a:pt x="635" y="913"/>
                    </a:cubicBezTo>
                    <a:cubicBezTo>
                      <a:pt x="462" y="855"/>
                      <a:pt x="462" y="855"/>
                      <a:pt x="462" y="855"/>
                    </a:cubicBezTo>
                    <a:cubicBezTo>
                      <a:pt x="457" y="854"/>
                      <a:pt x="452" y="854"/>
                      <a:pt x="448" y="855"/>
                    </a:cubicBezTo>
                    <a:cubicBezTo>
                      <a:pt x="284" y="913"/>
                      <a:pt x="284" y="913"/>
                      <a:pt x="284" y="913"/>
                    </a:cubicBezTo>
                    <a:cubicBezTo>
                      <a:pt x="251" y="896"/>
                      <a:pt x="251" y="896"/>
                      <a:pt x="251" y="896"/>
                    </a:cubicBezTo>
                    <a:cubicBezTo>
                      <a:pt x="245" y="893"/>
                      <a:pt x="238" y="893"/>
                      <a:pt x="232" y="896"/>
                    </a:cubicBezTo>
                    <a:cubicBezTo>
                      <a:pt x="124" y="945"/>
                      <a:pt x="124" y="945"/>
                      <a:pt x="124" y="945"/>
                    </a:cubicBezTo>
                    <a:cubicBezTo>
                      <a:pt x="90" y="919"/>
                      <a:pt x="90" y="919"/>
                      <a:pt x="90" y="919"/>
                    </a:cubicBezTo>
                    <a:cubicBezTo>
                      <a:pt x="87" y="916"/>
                      <a:pt x="82" y="914"/>
                      <a:pt x="77" y="914"/>
                    </a:cubicBezTo>
                    <a:cubicBezTo>
                      <a:pt x="62" y="914"/>
                      <a:pt x="62" y="914"/>
                      <a:pt x="62" y="914"/>
                    </a:cubicBezTo>
                    <a:cubicBezTo>
                      <a:pt x="272" y="568"/>
                      <a:pt x="272" y="568"/>
                      <a:pt x="272" y="568"/>
                    </a:cubicBezTo>
                    <a:cubicBezTo>
                      <a:pt x="465" y="645"/>
                      <a:pt x="465" y="645"/>
                      <a:pt x="465" y="645"/>
                    </a:cubicBezTo>
                    <a:cubicBezTo>
                      <a:pt x="475" y="649"/>
                      <a:pt x="487" y="645"/>
                      <a:pt x="492" y="636"/>
                    </a:cubicBezTo>
                    <a:cubicBezTo>
                      <a:pt x="847" y="53"/>
                      <a:pt x="847" y="53"/>
                      <a:pt x="847" y="53"/>
                    </a:cubicBezTo>
                    <a:cubicBezTo>
                      <a:pt x="1398" y="330"/>
                      <a:pt x="1398" y="330"/>
                      <a:pt x="1398" y="330"/>
                    </a:cubicBezTo>
                    <a:cubicBezTo>
                      <a:pt x="1503" y="592"/>
                      <a:pt x="1503" y="592"/>
                      <a:pt x="1503" y="592"/>
                    </a:cubicBezTo>
                    <a:cubicBezTo>
                      <a:pt x="1504" y="596"/>
                      <a:pt x="1507" y="599"/>
                      <a:pt x="1511" y="602"/>
                    </a:cubicBezTo>
                    <a:cubicBezTo>
                      <a:pt x="1770" y="776"/>
                      <a:pt x="1770" y="776"/>
                      <a:pt x="1770" y="776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67" y="1828"/>
                      <a:pt x="67" y="1828"/>
                      <a:pt x="67" y="1828"/>
                    </a:cubicBezTo>
                    <a:cubicBezTo>
                      <a:pt x="67" y="1688"/>
                      <a:pt x="67" y="1688"/>
                      <a:pt x="67" y="1688"/>
                    </a:cubicBezTo>
                    <a:cubicBezTo>
                      <a:pt x="206" y="1657"/>
                      <a:pt x="206" y="1657"/>
                      <a:pt x="206" y="1657"/>
                    </a:cubicBezTo>
                    <a:cubicBezTo>
                      <a:pt x="350" y="1691"/>
                      <a:pt x="350" y="1691"/>
                      <a:pt x="350" y="1691"/>
                    </a:cubicBezTo>
                    <a:cubicBezTo>
                      <a:pt x="354" y="1692"/>
                      <a:pt x="358" y="1692"/>
                      <a:pt x="362" y="1691"/>
                    </a:cubicBezTo>
                    <a:cubicBezTo>
                      <a:pt x="440" y="1665"/>
                      <a:pt x="440" y="1665"/>
                      <a:pt x="440" y="1665"/>
                    </a:cubicBezTo>
                    <a:cubicBezTo>
                      <a:pt x="626" y="1696"/>
                      <a:pt x="626" y="1696"/>
                      <a:pt x="626" y="1696"/>
                    </a:cubicBezTo>
                    <a:cubicBezTo>
                      <a:pt x="723" y="1714"/>
                      <a:pt x="723" y="1714"/>
                      <a:pt x="723" y="1714"/>
                    </a:cubicBezTo>
                    <a:cubicBezTo>
                      <a:pt x="725" y="1715"/>
                      <a:pt x="727" y="1715"/>
                      <a:pt x="729" y="1715"/>
                    </a:cubicBezTo>
                    <a:cubicBezTo>
                      <a:pt x="1013" y="1692"/>
                      <a:pt x="1013" y="1692"/>
                      <a:pt x="1013" y="1692"/>
                    </a:cubicBezTo>
                    <a:cubicBezTo>
                      <a:pt x="1020" y="1702"/>
                      <a:pt x="1020" y="1702"/>
                      <a:pt x="1020" y="1702"/>
                    </a:cubicBezTo>
                    <a:cubicBezTo>
                      <a:pt x="1024" y="1708"/>
                      <a:pt x="1030" y="1712"/>
                      <a:pt x="1038" y="1712"/>
                    </a:cubicBezTo>
                    <a:cubicBezTo>
                      <a:pt x="1269" y="1712"/>
                      <a:pt x="1269" y="1712"/>
                      <a:pt x="1269" y="1712"/>
                    </a:cubicBezTo>
                    <a:cubicBezTo>
                      <a:pt x="1254" y="1668"/>
                      <a:pt x="1254" y="1668"/>
                      <a:pt x="1254" y="1668"/>
                    </a:cubicBezTo>
                    <a:cubicBezTo>
                      <a:pt x="1049" y="1668"/>
                      <a:pt x="1049" y="1668"/>
                      <a:pt x="1049" y="1668"/>
                    </a:cubicBezTo>
                    <a:cubicBezTo>
                      <a:pt x="1042" y="1656"/>
                      <a:pt x="1042" y="1656"/>
                      <a:pt x="1042" y="1656"/>
                    </a:cubicBezTo>
                    <a:cubicBezTo>
                      <a:pt x="1037" y="1650"/>
                      <a:pt x="1030" y="1646"/>
                      <a:pt x="1022" y="1647"/>
                    </a:cubicBezTo>
                    <a:cubicBezTo>
                      <a:pt x="728" y="1671"/>
                      <a:pt x="728" y="1671"/>
                      <a:pt x="728" y="1671"/>
                    </a:cubicBezTo>
                    <a:cubicBezTo>
                      <a:pt x="634" y="1653"/>
                      <a:pt x="634" y="1653"/>
                      <a:pt x="634" y="1653"/>
                    </a:cubicBezTo>
                    <a:cubicBezTo>
                      <a:pt x="442" y="1620"/>
                      <a:pt x="442" y="1620"/>
                      <a:pt x="442" y="1620"/>
                    </a:cubicBezTo>
                    <a:cubicBezTo>
                      <a:pt x="438" y="1620"/>
                      <a:pt x="434" y="1620"/>
                      <a:pt x="431" y="1621"/>
                    </a:cubicBezTo>
                    <a:cubicBezTo>
                      <a:pt x="354" y="1647"/>
                      <a:pt x="354" y="1647"/>
                      <a:pt x="354" y="1647"/>
                    </a:cubicBezTo>
                    <a:cubicBezTo>
                      <a:pt x="211" y="1613"/>
                      <a:pt x="211" y="1613"/>
                      <a:pt x="211" y="1613"/>
                    </a:cubicBezTo>
                    <a:cubicBezTo>
                      <a:pt x="208" y="1613"/>
                      <a:pt x="205" y="1612"/>
                      <a:pt x="202" y="1613"/>
                    </a:cubicBezTo>
                    <a:cubicBezTo>
                      <a:pt x="40" y="1649"/>
                      <a:pt x="40" y="1649"/>
                      <a:pt x="40" y="1649"/>
                    </a:cubicBezTo>
                    <a:cubicBezTo>
                      <a:pt x="30" y="1651"/>
                      <a:pt x="23" y="1660"/>
                      <a:pt x="23" y="1670"/>
                    </a:cubicBezTo>
                    <a:cubicBezTo>
                      <a:pt x="23" y="1850"/>
                      <a:pt x="23" y="1850"/>
                      <a:pt x="23" y="1850"/>
                    </a:cubicBezTo>
                    <a:cubicBezTo>
                      <a:pt x="23" y="1862"/>
                      <a:pt x="33" y="1872"/>
                      <a:pt x="45" y="1872"/>
                    </a:cubicBezTo>
                    <a:cubicBezTo>
                      <a:pt x="1851" y="1872"/>
                      <a:pt x="1851" y="1872"/>
                      <a:pt x="1851" y="1872"/>
                    </a:cubicBezTo>
                    <a:cubicBezTo>
                      <a:pt x="1857" y="1872"/>
                      <a:pt x="1863" y="1870"/>
                      <a:pt x="1867" y="1865"/>
                    </a:cubicBezTo>
                    <a:cubicBezTo>
                      <a:pt x="1871" y="1861"/>
                      <a:pt x="1873" y="1855"/>
                      <a:pt x="1873" y="184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  <p:sp>
            <p:nvSpPr>
              <p:cNvPr id="19" name="Freeform 16">
                <a:extLst>
                  <a:ext uri="{FF2B5EF4-FFF2-40B4-BE49-F238E27FC236}">
                    <a16:creationId xmlns:a16="http://schemas.microsoft.com/office/drawing/2014/main" id="{4555B897-45D8-EB52-0FBB-FBDA663828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882" y="3422015"/>
                <a:ext cx="925512" cy="561975"/>
              </a:xfrm>
              <a:custGeom>
                <a:avLst/>
                <a:gdLst>
                  <a:gd name="T0" fmla="*/ 715 w 1296"/>
                  <a:gd name="T1" fmla="*/ 676 h 786"/>
                  <a:gd name="T2" fmla="*/ 401 w 1296"/>
                  <a:gd name="T3" fmla="*/ 701 h 786"/>
                  <a:gd name="T4" fmla="*/ 313 w 1296"/>
                  <a:gd name="T5" fmla="*/ 685 h 786"/>
                  <a:gd name="T6" fmla="*/ 109 w 1296"/>
                  <a:gd name="T7" fmla="*/ 650 h 786"/>
                  <a:gd name="T8" fmla="*/ 98 w 1296"/>
                  <a:gd name="T9" fmla="*/ 651 h 786"/>
                  <a:gd name="T10" fmla="*/ 23 w 1296"/>
                  <a:gd name="T11" fmla="*/ 676 h 786"/>
                  <a:gd name="T12" fmla="*/ 0 w 1296"/>
                  <a:gd name="T13" fmla="*/ 671 h 786"/>
                  <a:gd name="T14" fmla="*/ 144 w 1296"/>
                  <a:gd name="T15" fmla="*/ 513 h 786"/>
                  <a:gd name="T16" fmla="*/ 251 w 1296"/>
                  <a:gd name="T17" fmla="*/ 516 h 786"/>
                  <a:gd name="T18" fmla="*/ 427 w 1296"/>
                  <a:gd name="T19" fmla="*/ 360 h 786"/>
                  <a:gd name="T20" fmla="*/ 532 w 1296"/>
                  <a:gd name="T21" fmla="*/ 454 h 786"/>
                  <a:gd name="T22" fmla="*/ 670 w 1296"/>
                  <a:gd name="T23" fmla="*/ 487 h 786"/>
                  <a:gd name="T24" fmla="*/ 710 w 1296"/>
                  <a:gd name="T25" fmla="*/ 566 h 786"/>
                  <a:gd name="T26" fmla="*/ 784 w 1296"/>
                  <a:gd name="T27" fmla="*/ 620 h 786"/>
                  <a:gd name="T28" fmla="*/ 848 w 1296"/>
                  <a:gd name="T29" fmla="*/ 699 h 786"/>
                  <a:gd name="T30" fmla="*/ 744 w 1296"/>
                  <a:gd name="T31" fmla="*/ 699 h 786"/>
                  <a:gd name="T32" fmla="*/ 735 w 1296"/>
                  <a:gd name="T33" fmla="*/ 685 h 786"/>
                  <a:gd name="T34" fmla="*/ 715 w 1296"/>
                  <a:gd name="T35" fmla="*/ 676 h 786"/>
                  <a:gd name="T36" fmla="*/ 1125 w 1296"/>
                  <a:gd name="T37" fmla="*/ 669 h 786"/>
                  <a:gd name="T38" fmla="*/ 1296 w 1296"/>
                  <a:gd name="T39" fmla="*/ 499 h 786"/>
                  <a:gd name="T40" fmla="*/ 1207 w 1296"/>
                  <a:gd name="T41" fmla="*/ 326 h 786"/>
                  <a:gd name="T42" fmla="*/ 1130 w 1296"/>
                  <a:gd name="T43" fmla="*/ 186 h 786"/>
                  <a:gd name="T44" fmla="*/ 1138 w 1296"/>
                  <a:gd name="T45" fmla="*/ 137 h 786"/>
                  <a:gd name="T46" fmla="*/ 1161 w 1296"/>
                  <a:gd name="T47" fmla="*/ 68 h 786"/>
                  <a:gd name="T48" fmla="*/ 1088 w 1296"/>
                  <a:gd name="T49" fmla="*/ 0 h 786"/>
                  <a:gd name="T50" fmla="*/ 1081 w 1296"/>
                  <a:gd name="T51" fmla="*/ 15 h 786"/>
                  <a:gd name="T52" fmla="*/ 952 w 1296"/>
                  <a:gd name="T53" fmla="*/ 242 h 786"/>
                  <a:gd name="T54" fmla="*/ 950 w 1296"/>
                  <a:gd name="T55" fmla="*/ 244 h 786"/>
                  <a:gd name="T56" fmla="*/ 1011 w 1296"/>
                  <a:gd name="T57" fmla="*/ 369 h 786"/>
                  <a:gd name="T58" fmla="*/ 1009 w 1296"/>
                  <a:gd name="T59" fmla="*/ 412 h 786"/>
                  <a:gd name="T60" fmla="*/ 933 w 1296"/>
                  <a:gd name="T61" fmla="*/ 619 h 786"/>
                  <a:gd name="T62" fmla="*/ 930 w 1296"/>
                  <a:gd name="T63" fmla="*/ 624 h 786"/>
                  <a:gd name="T64" fmla="*/ 986 w 1296"/>
                  <a:gd name="T65" fmla="*/ 786 h 786"/>
                  <a:gd name="T66" fmla="*/ 1158 w 1296"/>
                  <a:gd name="T67" fmla="*/ 786 h 786"/>
                  <a:gd name="T68" fmla="*/ 1119 w 1296"/>
                  <a:gd name="T69" fmla="*/ 718 h 786"/>
                  <a:gd name="T70" fmla="*/ 1125 w 1296"/>
                  <a:gd name="T71" fmla="*/ 66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6" h="786">
                    <a:moveTo>
                      <a:pt x="715" y="676"/>
                    </a:moveTo>
                    <a:cubicBezTo>
                      <a:pt x="401" y="701"/>
                      <a:pt x="401" y="701"/>
                      <a:pt x="401" y="701"/>
                    </a:cubicBezTo>
                    <a:cubicBezTo>
                      <a:pt x="313" y="685"/>
                      <a:pt x="313" y="685"/>
                      <a:pt x="313" y="685"/>
                    </a:cubicBezTo>
                    <a:cubicBezTo>
                      <a:pt x="109" y="650"/>
                      <a:pt x="109" y="650"/>
                      <a:pt x="109" y="650"/>
                    </a:cubicBezTo>
                    <a:cubicBezTo>
                      <a:pt x="106" y="649"/>
                      <a:pt x="102" y="650"/>
                      <a:pt x="98" y="651"/>
                    </a:cubicBezTo>
                    <a:cubicBezTo>
                      <a:pt x="23" y="676"/>
                      <a:pt x="23" y="676"/>
                      <a:pt x="23" y="676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144" y="513"/>
                      <a:pt x="144" y="513"/>
                      <a:pt x="144" y="513"/>
                    </a:cubicBezTo>
                    <a:cubicBezTo>
                      <a:pt x="251" y="516"/>
                      <a:pt x="251" y="516"/>
                      <a:pt x="251" y="516"/>
                    </a:cubicBezTo>
                    <a:cubicBezTo>
                      <a:pt x="427" y="360"/>
                      <a:pt x="427" y="360"/>
                      <a:pt x="427" y="360"/>
                    </a:cubicBezTo>
                    <a:cubicBezTo>
                      <a:pt x="532" y="454"/>
                      <a:pt x="532" y="454"/>
                      <a:pt x="532" y="454"/>
                    </a:cubicBezTo>
                    <a:cubicBezTo>
                      <a:pt x="534" y="456"/>
                      <a:pt x="670" y="487"/>
                      <a:pt x="670" y="487"/>
                    </a:cubicBezTo>
                    <a:cubicBezTo>
                      <a:pt x="710" y="566"/>
                      <a:pt x="710" y="566"/>
                      <a:pt x="710" y="566"/>
                    </a:cubicBezTo>
                    <a:cubicBezTo>
                      <a:pt x="784" y="620"/>
                      <a:pt x="784" y="620"/>
                      <a:pt x="784" y="620"/>
                    </a:cubicBezTo>
                    <a:cubicBezTo>
                      <a:pt x="848" y="699"/>
                      <a:pt x="848" y="699"/>
                      <a:pt x="848" y="699"/>
                    </a:cubicBezTo>
                    <a:cubicBezTo>
                      <a:pt x="744" y="699"/>
                      <a:pt x="744" y="699"/>
                      <a:pt x="744" y="699"/>
                    </a:cubicBezTo>
                    <a:cubicBezTo>
                      <a:pt x="735" y="685"/>
                      <a:pt x="735" y="685"/>
                      <a:pt x="735" y="685"/>
                    </a:cubicBezTo>
                    <a:cubicBezTo>
                      <a:pt x="730" y="679"/>
                      <a:pt x="723" y="675"/>
                      <a:pt x="715" y="676"/>
                    </a:cubicBezTo>
                    <a:close/>
                    <a:moveTo>
                      <a:pt x="1125" y="669"/>
                    </a:moveTo>
                    <a:cubicBezTo>
                      <a:pt x="1296" y="499"/>
                      <a:pt x="1296" y="499"/>
                      <a:pt x="1296" y="499"/>
                    </a:cubicBezTo>
                    <a:cubicBezTo>
                      <a:pt x="1207" y="326"/>
                      <a:pt x="1207" y="326"/>
                      <a:pt x="1207" y="326"/>
                    </a:cubicBezTo>
                    <a:cubicBezTo>
                      <a:pt x="1130" y="186"/>
                      <a:pt x="1130" y="186"/>
                      <a:pt x="1130" y="186"/>
                    </a:cubicBezTo>
                    <a:cubicBezTo>
                      <a:pt x="1121" y="170"/>
                      <a:pt x="1124" y="150"/>
                      <a:pt x="1138" y="137"/>
                    </a:cubicBezTo>
                    <a:cubicBezTo>
                      <a:pt x="1150" y="125"/>
                      <a:pt x="1164" y="104"/>
                      <a:pt x="1161" y="68"/>
                    </a:cubicBezTo>
                    <a:cubicBezTo>
                      <a:pt x="1161" y="67"/>
                      <a:pt x="1158" y="49"/>
                      <a:pt x="1088" y="0"/>
                    </a:cubicBezTo>
                    <a:cubicBezTo>
                      <a:pt x="1087" y="5"/>
                      <a:pt x="1084" y="10"/>
                      <a:pt x="1081" y="15"/>
                    </a:cubicBezTo>
                    <a:cubicBezTo>
                      <a:pt x="952" y="242"/>
                      <a:pt x="952" y="242"/>
                      <a:pt x="952" y="242"/>
                    </a:cubicBezTo>
                    <a:cubicBezTo>
                      <a:pt x="951" y="243"/>
                      <a:pt x="951" y="244"/>
                      <a:pt x="950" y="244"/>
                    </a:cubicBezTo>
                    <a:cubicBezTo>
                      <a:pt x="1011" y="369"/>
                      <a:pt x="1011" y="369"/>
                      <a:pt x="1011" y="369"/>
                    </a:cubicBezTo>
                    <a:cubicBezTo>
                      <a:pt x="1019" y="383"/>
                      <a:pt x="1018" y="400"/>
                      <a:pt x="1009" y="412"/>
                    </a:cubicBezTo>
                    <a:cubicBezTo>
                      <a:pt x="933" y="619"/>
                      <a:pt x="933" y="619"/>
                      <a:pt x="933" y="619"/>
                    </a:cubicBezTo>
                    <a:cubicBezTo>
                      <a:pt x="932" y="621"/>
                      <a:pt x="931" y="623"/>
                      <a:pt x="930" y="624"/>
                    </a:cubicBezTo>
                    <a:cubicBezTo>
                      <a:pt x="986" y="786"/>
                      <a:pt x="986" y="786"/>
                      <a:pt x="986" y="786"/>
                    </a:cubicBezTo>
                    <a:cubicBezTo>
                      <a:pt x="1158" y="786"/>
                      <a:pt x="1158" y="786"/>
                      <a:pt x="1158" y="786"/>
                    </a:cubicBezTo>
                    <a:cubicBezTo>
                      <a:pt x="1119" y="718"/>
                      <a:pt x="1119" y="718"/>
                      <a:pt x="1119" y="718"/>
                    </a:cubicBezTo>
                    <a:cubicBezTo>
                      <a:pt x="1110" y="702"/>
                      <a:pt x="1112" y="682"/>
                      <a:pt x="1125" y="66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</p:grp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1806326-03B0-A4F4-3E32-6DCE5CC105ED}"/>
              </a:ext>
            </a:extLst>
          </p:cNvPr>
          <p:cNvGrpSpPr>
            <a:grpSpLocks noChangeAspect="1"/>
          </p:cNvGrpSpPr>
          <p:nvPr/>
        </p:nvGrpSpPr>
        <p:grpSpPr>
          <a:xfrm>
            <a:off x="4589872" y="3378358"/>
            <a:ext cx="639556" cy="639552"/>
            <a:chOff x="5264945" y="2606834"/>
            <a:chExt cx="1646237" cy="1646237"/>
          </a:xfrm>
        </p:grpSpPr>
        <p:sp>
          <p:nvSpPr>
            <p:cNvPr id="23" name="AutoShape 13">
              <a:extLst>
                <a:ext uri="{FF2B5EF4-FFF2-40B4-BE49-F238E27FC236}">
                  <a16:creationId xmlns:a16="http://schemas.microsoft.com/office/drawing/2014/main" id="{2E70B2BE-7DBC-9DA5-6DD5-1760A416AA2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4945" y="2606834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6878E84-1FF6-DF0B-4E21-0C73F20DA0E7}"/>
                </a:ext>
              </a:extLst>
            </p:cNvPr>
            <p:cNvGrpSpPr/>
            <p:nvPr/>
          </p:nvGrpSpPr>
          <p:grpSpPr>
            <a:xfrm>
              <a:off x="5418932" y="2761615"/>
              <a:ext cx="1338262" cy="1336675"/>
              <a:chOff x="5418932" y="2761615"/>
              <a:chExt cx="1338262" cy="1336675"/>
            </a:xfrm>
          </p:grpSpPr>
          <p:sp>
            <p:nvSpPr>
              <p:cNvPr id="26" name="Freeform 15">
                <a:extLst>
                  <a:ext uri="{FF2B5EF4-FFF2-40B4-BE49-F238E27FC236}">
                    <a16:creationId xmlns:a16="http://schemas.microsoft.com/office/drawing/2014/main" id="{997CC068-118A-3E01-D391-6BEEBA7D39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932" y="2761615"/>
                <a:ext cx="1338262" cy="1336675"/>
              </a:xfrm>
              <a:custGeom>
                <a:avLst/>
                <a:gdLst>
                  <a:gd name="T0" fmla="*/ 261 w 1873"/>
                  <a:gd name="T1" fmla="*/ 1281 h 1872"/>
                  <a:gd name="T2" fmla="*/ 501 w 1873"/>
                  <a:gd name="T3" fmla="*/ 1303 h 1872"/>
                  <a:gd name="T4" fmla="*/ 261 w 1873"/>
                  <a:gd name="T5" fmla="*/ 1325 h 1872"/>
                  <a:gd name="T6" fmla="*/ 23 w 1873"/>
                  <a:gd name="T7" fmla="*/ 1303 h 1872"/>
                  <a:gd name="T8" fmla="*/ 1873 w 1873"/>
                  <a:gd name="T9" fmla="*/ 1849 h 1872"/>
                  <a:gd name="T10" fmla="*/ 1804 w 1873"/>
                  <a:gd name="T11" fmla="*/ 745 h 1872"/>
                  <a:gd name="T12" fmla="*/ 1436 w 1873"/>
                  <a:gd name="T13" fmla="*/ 306 h 1872"/>
                  <a:gd name="T14" fmla="*/ 849 w 1873"/>
                  <a:gd name="T15" fmla="*/ 5 h 1872"/>
                  <a:gd name="T16" fmla="*/ 464 w 1873"/>
                  <a:gd name="T17" fmla="*/ 597 h 1872"/>
                  <a:gd name="T18" fmla="*/ 245 w 1873"/>
                  <a:gd name="T19" fmla="*/ 530 h 1872"/>
                  <a:gd name="T20" fmla="*/ 4 w 1873"/>
                  <a:gd name="T21" fmla="*/ 947 h 1872"/>
                  <a:gd name="T22" fmla="*/ 69 w 1873"/>
                  <a:gd name="T23" fmla="*/ 958 h 1872"/>
                  <a:gd name="T24" fmla="*/ 130 w 1873"/>
                  <a:gd name="T25" fmla="*/ 990 h 1872"/>
                  <a:gd name="T26" fmla="*/ 273 w 1873"/>
                  <a:gd name="T27" fmla="*/ 957 h 1872"/>
                  <a:gd name="T28" fmla="*/ 455 w 1873"/>
                  <a:gd name="T29" fmla="*/ 899 h 1872"/>
                  <a:gd name="T30" fmla="*/ 637 w 1873"/>
                  <a:gd name="T31" fmla="*/ 958 h 1872"/>
                  <a:gd name="T32" fmla="*/ 1351 w 1873"/>
                  <a:gd name="T33" fmla="*/ 954 h 1872"/>
                  <a:gd name="T34" fmla="*/ 1375 w 1873"/>
                  <a:gd name="T35" fmla="*/ 913 h 1872"/>
                  <a:gd name="T36" fmla="*/ 840 w 1873"/>
                  <a:gd name="T37" fmla="*/ 878 h 1872"/>
                  <a:gd name="T38" fmla="*/ 635 w 1873"/>
                  <a:gd name="T39" fmla="*/ 913 h 1872"/>
                  <a:gd name="T40" fmla="*/ 448 w 1873"/>
                  <a:gd name="T41" fmla="*/ 855 h 1872"/>
                  <a:gd name="T42" fmla="*/ 251 w 1873"/>
                  <a:gd name="T43" fmla="*/ 896 h 1872"/>
                  <a:gd name="T44" fmla="*/ 124 w 1873"/>
                  <a:gd name="T45" fmla="*/ 945 h 1872"/>
                  <a:gd name="T46" fmla="*/ 77 w 1873"/>
                  <a:gd name="T47" fmla="*/ 914 h 1872"/>
                  <a:gd name="T48" fmla="*/ 272 w 1873"/>
                  <a:gd name="T49" fmla="*/ 568 h 1872"/>
                  <a:gd name="T50" fmla="*/ 492 w 1873"/>
                  <a:gd name="T51" fmla="*/ 636 h 1872"/>
                  <a:gd name="T52" fmla="*/ 1398 w 1873"/>
                  <a:gd name="T53" fmla="*/ 330 h 1872"/>
                  <a:gd name="T54" fmla="*/ 1511 w 1873"/>
                  <a:gd name="T55" fmla="*/ 602 h 1872"/>
                  <a:gd name="T56" fmla="*/ 1828 w 1873"/>
                  <a:gd name="T57" fmla="*/ 1828 h 1872"/>
                  <a:gd name="T58" fmla="*/ 67 w 1873"/>
                  <a:gd name="T59" fmla="*/ 1688 h 1872"/>
                  <a:gd name="T60" fmla="*/ 350 w 1873"/>
                  <a:gd name="T61" fmla="*/ 1691 h 1872"/>
                  <a:gd name="T62" fmla="*/ 440 w 1873"/>
                  <a:gd name="T63" fmla="*/ 1665 h 1872"/>
                  <a:gd name="T64" fmla="*/ 723 w 1873"/>
                  <a:gd name="T65" fmla="*/ 1714 h 1872"/>
                  <a:gd name="T66" fmla="*/ 1013 w 1873"/>
                  <a:gd name="T67" fmla="*/ 1692 h 1872"/>
                  <a:gd name="T68" fmla="*/ 1038 w 1873"/>
                  <a:gd name="T69" fmla="*/ 1712 h 1872"/>
                  <a:gd name="T70" fmla="*/ 1254 w 1873"/>
                  <a:gd name="T71" fmla="*/ 1668 h 1872"/>
                  <a:gd name="T72" fmla="*/ 1042 w 1873"/>
                  <a:gd name="T73" fmla="*/ 1656 h 1872"/>
                  <a:gd name="T74" fmla="*/ 728 w 1873"/>
                  <a:gd name="T75" fmla="*/ 1671 h 1872"/>
                  <a:gd name="T76" fmla="*/ 442 w 1873"/>
                  <a:gd name="T77" fmla="*/ 1620 h 1872"/>
                  <a:gd name="T78" fmla="*/ 354 w 1873"/>
                  <a:gd name="T79" fmla="*/ 1647 h 1872"/>
                  <a:gd name="T80" fmla="*/ 202 w 1873"/>
                  <a:gd name="T81" fmla="*/ 1613 h 1872"/>
                  <a:gd name="T82" fmla="*/ 23 w 1873"/>
                  <a:gd name="T83" fmla="*/ 1670 h 1872"/>
                  <a:gd name="T84" fmla="*/ 45 w 1873"/>
                  <a:gd name="T85" fmla="*/ 1872 h 1872"/>
                  <a:gd name="T86" fmla="*/ 1867 w 1873"/>
                  <a:gd name="T87" fmla="*/ 1865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73" h="1872">
                    <a:moveTo>
                      <a:pt x="261" y="1239"/>
                    </a:moveTo>
                    <a:cubicBezTo>
                      <a:pt x="261" y="1281"/>
                      <a:pt x="261" y="1281"/>
                      <a:pt x="261" y="1281"/>
                    </a:cubicBezTo>
                    <a:cubicBezTo>
                      <a:pt x="479" y="1281"/>
                      <a:pt x="479" y="1281"/>
                      <a:pt x="479" y="1281"/>
                    </a:cubicBezTo>
                    <a:cubicBezTo>
                      <a:pt x="491" y="1281"/>
                      <a:pt x="501" y="1291"/>
                      <a:pt x="501" y="1303"/>
                    </a:cubicBezTo>
                    <a:cubicBezTo>
                      <a:pt x="501" y="1316"/>
                      <a:pt x="491" y="1325"/>
                      <a:pt x="479" y="1325"/>
                    </a:cubicBezTo>
                    <a:cubicBezTo>
                      <a:pt x="261" y="1325"/>
                      <a:pt x="261" y="1325"/>
                      <a:pt x="261" y="1325"/>
                    </a:cubicBezTo>
                    <a:cubicBezTo>
                      <a:pt x="261" y="1367"/>
                      <a:pt x="261" y="1367"/>
                      <a:pt x="261" y="1367"/>
                    </a:cubicBezTo>
                    <a:cubicBezTo>
                      <a:pt x="23" y="1303"/>
                      <a:pt x="23" y="1303"/>
                      <a:pt x="23" y="1303"/>
                    </a:cubicBezTo>
                    <a:lnTo>
                      <a:pt x="261" y="1239"/>
                    </a:lnTo>
                    <a:close/>
                    <a:moveTo>
                      <a:pt x="1873" y="1849"/>
                    </a:moveTo>
                    <a:cubicBezTo>
                      <a:pt x="1813" y="762"/>
                      <a:pt x="1813" y="762"/>
                      <a:pt x="1813" y="762"/>
                    </a:cubicBezTo>
                    <a:cubicBezTo>
                      <a:pt x="1813" y="755"/>
                      <a:pt x="1809" y="749"/>
                      <a:pt x="1804" y="745"/>
                    </a:cubicBezTo>
                    <a:cubicBezTo>
                      <a:pt x="1541" y="569"/>
                      <a:pt x="1541" y="569"/>
                      <a:pt x="1541" y="569"/>
                    </a:cubicBezTo>
                    <a:cubicBezTo>
                      <a:pt x="1436" y="306"/>
                      <a:pt x="1436" y="306"/>
                      <a:pt x="1436" y="306"/>
                    </a:cubicBezTo>
                    <a:cubicBezTo>
                      <a:pt x="1434" y="301"/>
                      <a:pt x="1430" y="297"/>
                      <a:pt x="1425" y="295"/>
                    </a:cubicBezTo>
                    <a:cubicBezTo>
                      <a:pt x="849" y="5"/>
                      <a:pt x="849" y="5"/>
                      <a:pt x="849" y="5"/>
                    </a:cubicBezTo>
                    <a:cubicBezTo>
                      <a:pt x="838" y="0"/>
                      <a:pt x="826" y="3"/>
                      <a:pt x="820" y="13"/>
                    </a:cubicBezTo>
                    <a:cubicBezTo>
                      <a:pt x="464" y="597"/>
                      <a:pt x="464" y="597"/>
                      <a:pt x="464" y="597"/>
                    </a:cubicBezTo>
                    <a:cubicBezTo>
                      <a:pt x="271" y="521"/>
                      <a:pt x="271" y="521"/>
                      <a:pt x="271" y="521"/>
                    </a:cubicBezTo>
                    <a:cubicBezTo>
                      <a:pt x="261" y="517"/>
                      <a:pt x="250" y="520"/>
                      <a:pt x="245" y="530"/>
                    </a:cubicBezTo>
                    <a:cubicBezTo>
                      <a:pt x="4" y="925"/>
                      <a:pt x="4" y="925"/>
                      <a:pt x="4" y="925"/>
                    </a:cubicBezTo>
                    <a:cubicBezTo>
                      <a:pt x="0" y="931"/>
                      <a:pt x="0" y="940"/>
                      <a:pt x="4" y="947"/>
                    </a:cubicBezTo>
                    <a:cubicBezTo>
                      <a:pt x="8" y="954"/>
                      <a:pt x="15" y="958"/>
                      <a:pt x="23" y="958"/>
                    </a:cubicBezTo>
                    <a:cubicBezTo>
                      <a:pt x="69" y="958"/>
                      <a:pt x="69" y="958"/>
                      <a:pt x="69" y="958"/>
                    </a:cubicBezTo>
                    <a:cubicBezTo>
                      <a:pt x="108" y="987"/>
                      <a:pt x="108" y="987"/>
                      <a:pt x="108" y="987"/>
                    </a:cubicBezTo>
                    <a:cubicBezTo>
                      <a:pt x="114" y="992"/>
                      <a:pt x="123" y="993"/>
                      <a:pt x="130" y="990"/>
                    </a:cubicBezTo>
                    <a:cubicBezTo>
                      <a:pt x="240" y="940"/>
                      <a:pt x="240" y="940"/>
                      <a:pt x="240" y="940"/>
                    </a:cubicBezTo>
                    <a:cubicBezTo>
                      <a:pt x="273" y="957"/>
                      <a:pt x="273" y="957"/>
                      <a:pt x="273" y="957"/>
                    </a:cubicBezTo>
                    <a:cubicBezTo>
                      <a:pt x="278" y="960"/>
                      <a:pt x="285" y="960"/>
                      <a:pt x="290" y="958"/>
                    </a:cubicBezTo>
                    <a:cubicBezTo>
                      <a:pt x="455" y="899"/>
                      <a:pt x="455" y="899"/>
                      <a:pt x="455" y="899"/>
                    </a:cubicBezTo>
                    <a:cubicBezTo>
                      <a:pt x="626" y="957"/>
                      <a:pt x="626" y="957"/>
                      <a:pt x="626" y="957"/>
                    </a:cubicBezTo>
                    <a:cubicBezTo>
                      <a:pt x="630" y="958"/>
                      <a:pt x="634" y="958"/>
                      <a:pt x="637" y="958"/>
                    </a:cubicBezTo>
                    <a:cubicBezTo>
                      <a:pt x="840" y="922"/>
                      <a:pt x="840" y="922"/>
                      <a:pt x="840" y="922"/>
                    </a:cubicBezTo>
                    <a:cubicBezTo>
                      <a:pt x="1351" y="954"/>
                      <a:pt x="1351" y="954"/>
                      <a:pt x="1351" y="954"/>
                    </a:cubicBezTo>
                    <a:cubicBezTo>
                      <a:pt x="1373" y="916"/>
                      <a:pt x="1373" y="916"/>
                      <a:pt x="1373" y="916"/>
                    </a:cubicBezTo>
                    <a:cubicBezTo>
                      <a:pt x="1373" y="915"/>
                      <a:pt x="1374" y="914"/>
                      <a:pt x="1375" y="913"/>
                    </a:cubicBezTo>
                    <a:cubicBezTo>
                      <a:pt x="1375" y="912"/>
                      <a:pt x="1375" y="912"/>
                      <a:pt x="1375" y="912"/>
                    </a:cubicBezTo>
                    <a:cubicBezTo>
                      <a:pt x="840" y="878"/>
                      <a:pt x="840" y="878"/>
                      <a:pt x="840" y="878"/>
                    </a:cubicBezTo>
                    <a:cubicBezTo>
                      <a:pt x="838" y="878"/>
                      <a:pt x="837" y="878"/>
                      <a:pt x="835" y="878"/>
                    </a:cubicBezTo>
                    <a:cubicBezTo>
                      <a:pt x="635" y="913"/>
                      <a:pt x="635" y="913"/>
                      <a:pt x="635" y="913"/>
                    </a:cubicBezTo>
                    <a:cubicBezTo>
                      <a:pt x="462" y="855"/>
                      <a:pt x="462" y="855"/>
                      <a:pt x="462" y="855"/>
                    </a:cubicBezTo>
                    <a:cubicBezTo>
                      <a:pt x="457" y="854"/>
                      <a:pt x="452" y="854"/>
                      <a:pt x="448" y="855"/>
                    </a:cubicBezTo>
                    <a:cubicBezTo>
                      <a:pt x="284" y="913"/>
                      <a:pt x="284" y="913"/>
                      <a:pt x="284" y="913"/>
                    </a:cubicBezTo>
                    <a:cubicBezTo>
                      <a:pt x="251" y="896"/>
                      <a:pt x="251" y="896"/>
                      <a:pt x="251" y="896"/>
                    </a:cubicBezTo>
                    <a:cubicBezTo>
                      <a:pt x="245" y="893"/>
                      <a:pt x="238" y="893"/>
                      <a:pt x="232" y="896"/>
                    </a:cubicBezTo>
                    <a:cubicBezTo>
                      <a:pt x="124" y="945"/>
                      <a:pt x="124" y="945"/>
                      <a:pt x="124" y="945"/>
                    </a:cubicBezTo>
                    <a:cubicBezTo>
                      <a:pt x="90" y="919"/>
                      <a:pt x="90" y="919"/>
                      <a:pt x="90" y="919"/>
                    </a:cubicBezTo>
                    <a:cubicBezTo>
                      <a:pt x="87" y="916"/>
                      <a:pt x="82" y="914"/>
                      <a:pt x="77" y="914"/>
                    </a:cubicBezTo>
                    <a:cubicBezTo>
                      <a:pt x="62" y="914"/>
                      <a:pt x="62" y="914"/>
                      <a:pt x="62" y="914"/>
                    </a:cubicBezTo>
                    <a:cubicBezTo>
                      <a:pt x="272" y="568"/>
                      <a:pt x="272" y="568"/>
                      <a:pt x="272" y="568"/>
                    </a:cubicBezTo>
                    <a:cubicBezTo>
                      <a:pt x="465" y="645"/>
                      <a:pt x="465" y="645"/>
                      <a:pt x="465" y="645"/>
                    </a:cubicBezTo>
                    <a:cubicBezTo>
                      <a:pt x="475" y="649"/>
                      <a:pt x="487" y="645"/>
                      <a:pt x="492" y="636"/>
                    </a:cubicBezTo>
                    <a:cubicBezTo>
                      <a:pt x="847" y="53"/>
                      <a:pt x="847" y="53"/>
                      <a:pt x="847" y="53"/>
                    </a:cubicBezTo>
                    <a:cubicBezTo>
                      <a:pt x="1398" y="330"/>
                      <a:pt x="1398" y="330"/>
                      <a:pt x="1398" y="330"/>
                    </a:cubicBezTo>
                    <a:cubicBezTo>
                      <a:pt x="1503" y="592"/>
                      <a:pt x="1503" y="592"/>
                      <a:pt x="1503" y="592"/>
                    </a:cubicBezTo>
                    <a:cubicBezTo>
                      <a:pt x="1504" y="596"/>
                      <a:pt x="1507" y="599"/>
                      <a:pt x="1511" y="602"/>
                    </a:cubicBezTo>
                    <a:cubicBezTo>
                      <a:pt x="1770" y="776"/>
                      <a:pt x="1770" y="776"/>
                      <a:pt x="1770" y="776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67" y="1828"/>
                      <a:pt x="67" y="1828"/>
                      <a:pt x="67" y="1828"/>
                    </a:cubicBezTo>
                    <a:cubicBezTo>
                      <a:pt x="67" y="1688"/>
                      <a:pt x="67" y="1688"/>
                      <a:pt x="67" y="1688"/>
                    </a:cubicBezTo>
                    <a:cubicBezTo>
                      <a:pt x="206" y="1657"/>
                      <a:pt x="206" y="1657"/>
                      <a:pt x="206" y="1657"/>
                    </a:cubicBezTo>
                    <a:cubicBezTo>
                      <a:pt x="350" y="1691"/>
                      <a:pt x="350" y="1691"/>
                      <a:pt x="350" y="1691"/>
                    </a:cubicBezTo>
                    <a:cubicBezTo>
                      <a:pt x="354" y="1692"/>
                      <a:pt x="358" y="1692"/>
                      <a:pt x="362" y="1691"/>
                    </a:cubicBezTo>
                    <a:cubicBezTo>
                      <a:pt x="440" y="1665"/>
                      <a:pt x="440" y="1665"/>
                      <a:pt x="440" y="1665"/>
                    </a:cubicBezTo>
                    <a:cubicBezTo>
                      <a:pt x="626" y="1696"/>
                      <a:pt x="626" y="1696"/>
                      <a:pt x="626" y="1696"/>
                    </a:cubicBezTo>
                    <a:cubicBezTo>
                      <a:pt x="723" y="1714"/>
                      <a:pt x="723" y="1714"/>
                      <a:pt x="723" y="1714"/>
                    </a:cubicBezTo>
                    <a:cubicBezTo>
                      <a:pt x="725" y="1715"/>
                      <a:pt x="727" y="1715"/>
                      <a:pt x="729" y="1715"/>
                    </a:cubicBezTo>
                    <a:cubicBezTo>
                      <a:pt x="1013" y="1692"/>
                      <a:pt x="1013" y="1692"/>
                      <a:pt x="1013" y="1692"/>
                    </a:cubicBezTo>
                    <a:cubicBezTo>
                      <a:pt x="1020" y="1702"/>
                      <a:pt x="1020" y="1702"/>
                      <a:pt x="1020" y="1702"/>
                    </a:cubicBezTo>
                    <a:cubicBezTo>
                      <a:pt x="1024" y="1708"/>
                      <a:pt x="1030" y="1712"/>
                      <a:pt x="1038" y="1712"/>
                    </a:cubicBezTo>
                    <a:cubicBezTo>
                      <a:pt x="1269" y="1712"/>
                      <a:pt x="1269" y="1712"/>
                      <a:pt x="1269" y="1712"/>
                    </a:cubicBezTo>
                    <a:cubicBezTo>
                      <a:pt x="1254" y="1668"/>
                      <a:pt x="1254" y="1668"/>
                      <a:pt x="1254" y="1668"/>
                    </a:cubicBezTo>
                    <a:cubicBezTo>
                      <a:pt x="1049" y="1668"/>
                      <a:pt x="1049" y="1668"/>
                      <a:pt x="1049" y="1668"/>
                    </a:cubicBezTo>
                    <a:cubicBezTo>
                      <a:pt x="1042" y="1656"/>
                      <a:pt x="1042" y="1656"/>
                      <a:pt x="1042" y="1656"/>
                    </a:cubicBezTo>
                    <a:cubicBezTo>
                      <a:pt x="1037" y="1650"/>
                      <a:pt x="1030" y="1646"/>
                      <a:pt x="1022" y="1647"/>
                    </a:cubicBezTo>
                    <a:cubicBezTo>
                      <a:pt x="728" y="1671"/>
                      <a:pt x="728" y="1671"/>
                      <a:pt x="728" y="1671"/>
                    </a:cubicBezTo>
                    <a:cubicBezTo>
                      <a:pt x="634" y="1653"/>
                      <a:pt x="634" y="1653"/>
                      <a:pt x="634" y="1653"/>
                    </a:cubicBezTo>
                    <a:cubicBezTo>
                      <a:pt x="442" y="1620"/>
                      <a:pt x="442" y="1620"/>
                      <a:pt x="442" y="1620"/>
                    </a:cubicBezTo>
                    <a:cubicBezTo>
                      <a:pt x="438" y="1620"/>
                      <a:pt x="434" y="1620"/>
                      <a:pt x="431" y="1621"/>
                    </a:cubicBezTo>
                    <a:cubicBezTo>
                      <a:pt x="354" y="1647"/>
                      <a:pt x="354" y="1647"/>
                      <a:pt x="354" y="1647"/>
                    </a:cubicBezTo>
                    <a:cubicBezTo>
                      <a:pt x="211" y="1613"/>
                      <a:pt x="211" y="1613"/>
                      <a:pt x="211" y="1613"/>
                    </a:cubicBezTo>
                    <a:cubicBezTo>
                      <a:pt x="208" y="1613"/>
                      <a:pt x="205" y="1612"/>
                      <a:pt x="202" y="1613"/>
                    </a:cubicBezTo>
                    <a:cubicBezTo>
                      <a:pt x="40" y="1649"/>
                      <a:pt x="40" y="1649"/>
                      <a:pt x="40" y="1649"/>
                    </a:cubicBezTo>
                    <a:cubicBezTo>
                      <a:pt x="30" y="1651"/>
                      <a:pt x="23" y="1660"/>
                      <a:pt x="23" y="1670"/>
                    </a:cubicBezTo>
                    <a:cubicBezTo>
                      <a:pt x="23" y="1850"/>
                      <a:pt x="23" y="1850"/>
                      <a:pt x="23" y="1850"/>
                    </a:cubicBezTo>
                    <a:cubicBezTo>
                      <a:pt x="23" y="1862"/>
                      <a:pt x="33" y="1872"/>
                      <a:pt x="45" y="1872"/>
                    </a:cubicBezTo>
                    <a:cubicBezTo>
                      <a:pt x="1851" y="1872"/>
                      <a:pt x="1851" y="1872"/>
                      <a:pt x="1851" y="1872"/>
                    </a:cubicBezTo>
                    <a:cubicBezTo>
                      <a:pt x="1857" y="1872"/>
                      <a:pt x="1863" y="1870"/>
                      <a:pt x="1867" y="1865"/>
                    </a:cubicBezTo>
                    <a:cubicBezTo>
                      <a:pt x="1871" y="1861"/>
                      <a:pt x="1873" y="1855"/>
                      <a:pt x="1873" y="184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  <p:sp>
            <p:nvSpPr>
              <p:cNvPr id="27" name="Freeform 16">
                <a:extLst>
                  <a:ext uri="{FF2B5EF4-FFF2-40B4-BE49-F238E27FC236}">
                    <a16:creationId xmlns:a16="http://schemas.microsoft.com/office/drawing/2014/main" id="{76D9EA3A-9ED5-9BD2-E839-D9698D48E8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882" y="3422015"/>
                <a:ext cx="925512" cy="561975"/>
              </a:xfrm>
              <a:custGeom>
                <a:avLst/>
                <a:gdLst>
                  <a:gd name="T0" fmla="*/ 715 w 1296"/>
                  <a:gd name="T1" fmla="*/ 676 h 786"/>
                  <a:gd name="T2" fmla="*/ 401 w 1296"/>
                  <a:gd name="T3" fmla="*/ 701 h 786"/>
                  <a:gd name="T4" fmla="*/ 313 w 1296"/>
                  <a:gd name="T5" fmla="*/ 685 h 786"/>
                  <a:gd name="T6" fmla="*/ 109 w 1296"/>
                  <a:gd name="T7" fmla="*/ 650 h 786"/>
                  <a:gd name="T8" fmla="*/ 98 w 1296"/>
                  <a:gd name="T9" fmla="*/ 651 h 786"/>
                  <a:gd name="T10" fmla="*/ 23 w 1296"/>
                  <a:gd name="T11" fmla="*/ 676 h 786"/>
                  <a:gd name="T12" fmla="*/ 0 w 1296"/>
                  <a:gd name="T13" fmla="*/ 671 h 786"/>
                  <a:gd name="T14" fmla="*/ 144 w 1296"/>
                  <a:gd name="T15" fmla="*/ 513 h 786"/>
                  <a:gd name="T16" fmla="*/ 251 w 1296"/>
                  <a:gd name="T17" fmla="*/ 516 h 786"/>
                  <a:gd name="T18" fmla="*/ 427 w 1296"/>
                  <a:gd name="T19" fmla="*/ 360 h 786"/>
                  <a:gd name="T20" fmla="*/ 532 w 1296"/>
                  <a:gd name="T21" fmla="*/ 454 h 786"/>
                  <a:gd name="T22" fmla="*/ 670 w 1296"/>
                  <a:gd name="T23" fmla="*/ 487 h 786"/>
                  <a:gd name="T24" fmla="*/ 710 w 1296"/>
                  <a:gd name="T25" fmla="*/ 566 h 786"/>
                  <a:gd name="T26" fmla="*/ 784 w 1296"/>
                  <a:gd name="T27" fmla="*/ 620 h 786"/>
                  <a:gd name="T28" fmla="*/ 848 w 1296"/>
                  <a:gd name="T29" fmla="*/ 699 h 786"/>
                  <a:gd name="T30" fmla="*/ 744 w 1296"/>
                  <a:gd name="T31" fmla="*/ 699 h 786"/>
                  <a:gd name="T32" fmla="*/ 735 w 1296"/>
                  <a:gd name="T33" fmla="*/ 685 h 786"/>
                  <a:gd name="T34" fmla="*/ 715 w 1296"/>
                  <a:gd name="T35" fmla="*/ 676 h 786"/>
                  <a:gd name="T36" fmla="*/ 1125 w 1296"/>
                  <a:gd name="T37" fmla="*/ 669 h 786"/>
                  <a:gd name="T38" fmla="*/ 1296 w 1296"/>
                  <a:gd name="T39" fmla="*/ 499 h 786"/>
                  <a:gd name="T40" fmla="*/ 1207 w 1296"/>
                  <a:gd name="T41" fmla="*/ 326 h 786"/>
                  <a:gd name="T42" fmla="*/ 1130 w 1296"/>
                  <a:gd name="T43" fmla="*/ 186 h 786"/>
                  <a:gd name="T44" fmla="*/ 1138 w 1296"/>
                  <a:gd name="T45" fmla="*/ 137 h 786"/>
                  <a:gd name="T46" fmla="*/ 1161 w 1296"/>
                  <a:gd name="T47" fmla="*/ 68 h 786"/>
                  <a:gd name="T48" fmla="*/ 1088 w 1296"/>
                  <a:gd name="T49" fmla="*/ 0 h 786"/>
                  <a:gd name="T50" fmla="*/ 1081 w 1296"/>
                  <a:gd name="T51" fmla="*/ 15 h 786"/>
                  <a:gd name="T52" fmla="*/ 952 w 1296"/>
                  <a:gd name="T53" fmla="*/ 242 h 786"/>
                  <a:gd name="T54" fmla="*/ 950 w 1296"/>
                  <a:gd name="T55" fmla="*/ 244 h 786"/>
                  <a:gd name="T56" fmla="*/ 1011 w 1296"/>
                  <a:gd name="T57" fmla="*/ 369 h 786"/>
                  <a:gd name="T58" fmla="*/ 1009 w 1296"/>
                  <a:gd name="T59" fmla="*/ 412 h 786"/>
                  <a:gd name="T60" fmla="*/ 933 w 1296"/>
                  <a:gd name="T61" fmla="*/ 619 h 786"/>
                  <a:gd name="T62" fmla="*/ 930 w 1296"/>
                  <a:gd name="T63" fmla="*/ 624 h 786"/>
                  <a:gd name="T64" fmla="*/ 986 w 1296"/>
                  <a:gd name="T65" fmla="*/ 786 h 786"/>
                  <a:gd name="T66" fmla="*/ 1158 w 1296"/>
                  <a:gd name="T67" fmla="*/ 786 h 786"/>
                  <a:gd name="T68" fmla="*/ 1119 w 1296"/>
                  <a:gd name="T69" fmla="*/ 718 h 786"/>
                  <a:gd name="T70" fmla="*/ 1125 w 1296"/>
                  <a:gd name="T71" fmla="*/ 66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6" h="786">
                    <a:moveTo>
                      <a:pt x="715" y="676"/>
                    </a:moveTo>
                    <a:cubicBezTo>
                      <a:pt x="401" y="701"/>
                      <a:pt x="401" y="701"/>
                      <a:pt x="401" y="701"/>
                    </a:cubicBezTo>
                    <a:cubicBezTo>
                      <a:pt x="313" y="685"/>
                      <a:pt x="313" y="685"/>
                      <a:pt x="313" y="685"/>
                    </a:cubicBezTo>
                    <a:cubicBezTo>
                      <a:pt x="109" y="650"/>
                      <a:pt x="109" y="650"/>
                      <a:pt x="109" y="650"/>
                    </a:cubicBezTo>
                    <a:cubicBezTo>
                      <a:pt x="106" y="649"/>
                      <a:pt x="102" y="650"/>
                      <a:pt x="98" y="651"/>
                    </a:cubicBezTo>
                    <a:cubicBezTo>
                      <a:pt x="23" y="676"/>
                      <a:pt x="23" y="676"/>
                      <a:pt x="23" y="676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144" y="513"/>
                      <a:pt x="144" y="513"/>
                      <a:pt x="144" y="513"/>
                    </a:cubicBezTo>
                    <a:cubicBezTo>
                      <a:pt x="251" y="516"/>
                      <a:pt x="251" y="516"/>
                      <a:pt x="251" y="516"/>
                    </a:cubicBezTo>
                    <a:cubicBezTo>
                      <a:pt x="427" y="360"/>
                      <a:pt x="427" y="360"/>
                      <a:pt x="427" y="360"/>
                    </a:cubicBezTo>
                    <a:cubicBezTo>
                      <a:pt x="532" y="454"/>
                      <a:pt x="532" y="454"/>
                      <a:pt x="532" y="454"/>
                    </a:cubicBezTo>
                    <a:cubicBezTo>
                      <a:pt x="534" y="456"/>
                      <a:pt x="670" y="487"/>
                      <a:pt x="670" y="487"/>
                    </a:cubicBezTo>
                    <a:cubicBezTo>
                      <a:pt x="710" y="566"/>
                      <a:pt x="710" y="566"/>
                      <a:pt x="710" y="566"/>
                    </a:cubicBezTo>
                    <a:cubicBezTo>
                      <a:pt x="784" y="620"/>
                      <a:pt x="784" y="620"/>
                      <a:pt x="784" y="620"/>
                    </a:cubicBezTo>
                    <a:cubicBezTo>
                      <a:pt x="848" y="699"/>
                      <a:pt x="848" y="699"/>
                      <a:pt x="848" y="699"/>
                    </a:cubicBezTo>
                    <a:cubicBezTo>
                      <a:pt x="744" y="699"/>
                      <a:pt x="744" y="699"/>
                      <a:pt x="744" y="699"/>
                    </a:cubicBezTo>
                    <a:cubicBezTo>
                      <a:pt x="735" y="685"/>
                      <a:pt x="735" y="685"/>
                      <a:pt x="735" y="685"/>
                    </a:cubicBezTo>
                    <a:cubicBezTo>
                      <a:pt x="730" y="679"/>
                      <a:pt x="723" y="675"/>
                      <a:pt x="715" y="676"/>
                    </a:cubicBezTo>
                    <a:close/>
                    <a:moveTo>
                      <a:pt x="1125" y="669"/>
                    </a:moveTo>
                    <a:cubicBezTo>
                      <a:pt x="1296" y="499"/>
                      <a:pt x="1296" y="499"/>
                      <a:pt x="1296" y="499"/>
                    </a:cubicBezTo>
                    <a:cubicBezTo>
                      <a:pt x="1207" y="326"/>
                      <a:pt x="1207" y="326"/>
                      <a:pt x="1207" y="326"/>
                    </a:cubicBezTo>
                    <a:cubicBezTo>
                      <a:pt x="1130" y="186"/>
                      <a:pt x="1130" y="186"/>
                      <a:pt x="1130" y="186"/>
                    </a:cubicBezTo>
                    <a:cubicBezTo>
                      <a:pt x="1121" y="170"/>
                      <a:pt x="1124" y="150"/>
                      <a:pt x="1138" y="137"/>
                    </a:cubicBezTo>
                    <a:cubicBezTo>
                      <a:pt x="1150" y="125"/>
                      <a:pt x="1164" y="104"/>
                      <a:pt x="1161" y="68"/>
                    </a:cubicBezTo>
                    <a:cubicBezTo>
                      <a:pt x="1161" y="67"/>
                      <a:pt x="1158" y="49"/>
                      <a:pt x="1088" y="0"/>
                    </a:cubicBezTo>
                    <a:cubicBezTo>
                      <a:pt x="1087" y="5"/>
                      <a:pt x="1084" y="10"/>
                      <a:pt x="1081" y="15"/>
                    </a:cubicBezTo>
                    <a:cubicBezTo>
                      <a:pt x="952" y="242"/>
                      <a:pt x="952" y="242"/>
                      <a:pt x="952" y="242"/>
                    </a:cubicBezTo>
                    <a:cubicBezTo>
                      <a:pt x="951" y="243"/>
                      <a:pt x="951" y="244"/>
                      <a:pt x="950" y="244"/>
                    </a:cubicBezTo>
                    <a:cubicBezTo>
                      <a:pt x="1011" y="369"/>
                      <a:pt x="1011" y="369"/>
                      <a:pt x="1011" y="369"/>
                    </a:cubicBezTo>
                    <a:cubicBezTo>
                      <a:pt x="1019" y="383"/>
                      <a:pt x="1018" y="400"/>
                      <a:pt x="1009" y="412"/>
                    </a:cubicBezTo>
                    <a:cubicBezTo>
                      <a:pt x="933" y="619"/>
                      <a:pt x="933" y="619"/>
                      <a:pt x="933" y="619"/>
                    </a:cubicBezTo>
                    <a:cubicBezTo>
                      <a:pt x="932" y="621"/>
                      <a:pt x="931" y="623"/>
                      <a:pt x="930" y="624"/>
                    </a:cubicBezTo>
                    <a:cubicBezTo>
                      <a:pt x="986" y="786"/>
                      <a:pt x="986" y="786"/>
                      <a:pt x="986" y="786"/>
                    </a:cubicBezTo>
                    <a:cubicBezTo>
                      <a:pt x="1158" y="786"/>
                      <a:pt x="1158" y="786"/>
                      <a:pt x="1158" y="786"/>
                    </a:cubicBezTo>
                    <a:cubicBezTo>
                      <a:pt x="1119" y="718"/>
                      <a:pt x="1119" y="718"/>
                      <a:pt x="1119" y="718"/>
                    </a:cubicBezTo>
                    <a:cubicBezTo>
                      <a:pt x="1110" y="702"/>
                      <a:pt x="1112" y="682"/>
                      <a:pt x="1125" y="66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B6305DE-724B-CE57-B97A-9E81BF6F16F1}"/>
              </a:ext>
            </a:extLst>
          </p:cNvPr>
          <p:cNvGrpSpPr>
            <a:grpSpLocks noChangeAspect="1"/>
          </p:cNvGrpSpPr>
          <p:nvPr/>
        </p:nvGrpSpPr>
        <p:grpSpPr>
          <a:xfrm>
            <a:off x="8102826" y="3011754"/>
            <a:ext cx="639556" cy="639552"/>
            <a:chOff x="5264945" y="2606834"/>
            <a:chExt cx="1646237" cy="1646237"/>
          </a:xfrm>
        </p:grpSpPr>
        <p:sp>
          <p:nvSpPr>
            <p:cNvPr id="29" name="AutoShape 13">
              <a:extLst>
                <a:ext uri="{FF2B5EF4-FFF2-40B4-BE49-F238E27FC236}">
                  <a16:creationId xmlns:a16="http://schemas.microsoft.com/office/drawing/2014/main" id="{BF963A7A-AE63-3303-4985-0DF4D645FA8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4945" y="2606834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3E700867-D912-83BE-6DA7-DDCC90906978}"/>
                </a:ext>
              </a:extLst>
            </p:cNvPr>
            <p:cNvGrpSpPr/>
            <p:nvPr/>
          </p:nvGrpSpPr>
          <p:grpSpPr>
            <a:xfrm>
              <a:off x="5418932" y="2761615"/>
              <a:ext cx="1338262" cy="1336675"/>
              <a:chOff x="5418932" y="2761615"/>
              <a:chExt cx="1338262" cy="1336675"/>
            </a:xfrm>
          </p:grpSpPr>
          <p:sp>
            <p:nvSpPr>
              <p:cNvPr id="32" name="Freeform 15">
                <a:extLst>
                  <a:ext uri="{FF2B5EF4-FFF2-40B4-BE49-F238E27FC236}">
                    <a16:creationId xmlns:a16="http://schemas.microsoft.com/office/drawing/2014/main" id="{BAA7C390-8BA5-5240-C955-07DBFA28BC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932" y="2761615"/>
                <a:ext cx="1338262" cy="1336675"/>
              </a:xfrm>
              <a:custGeom>
                <a:avLst/>
                <a:gdLst>
                  <a:gd name="T0" fmla="*/ 261 w 1873"/>
                  <a:gd name="T1" fmla="*/ 1281 h 1872"/>
                  <a:gd name="T2" fmla="*/ 501 w 1873"/>
                  <a:gd name="T3" fmla="*/ 1303 h 1872"/>
                  <a:gd name="T4" fmla="*/ 261 w 1873"/>
                  <a:gd name="T5" fmla="*/ 1325 h 1872"/>
                  <a:gd name="T6" fmla="*/ 23 w 1873"/>
                  <a:gd name="T7" fmla="*/ 1303 h 1872"/>
                  <a:gd name="T8" fmla="*/ 1873 w 1873"/>
                  <a:gd name="T9" fmla="*/ 1849 h 1872"/>
                  <a:gd name="T10" fmla="*/ 1804 w 1873"/>
                  <a:gd name="T11" fmla="*/ 745 h 1872"/>
                  <a:gd name="T12" fmla="*/ 1436 w 1873"/>
                  <a:gd name="T13" fmla="*/ 306 h 1872"/>
                  <a:gd name="T14" fmla="*/ 849 w 1873"/>
                  <a:gd name="T15" fmla="*/ 5 h 1872"/>
                  <a:gd name="T16" fmla="*/ 464 w 1873"/>
                  <a:gd name="T17" fmla="*/ 597 h 1872"/>
                  <a:gd name="T18" fmla="*/ 245 w 1873"/>
                  <a:gd name="T19" fmla="*/ 530 h 1872"/>
                  <a:gd name="T20" fmla="*/ 4 w 1873"/>
                  <a:gd name="T21" fmla="*/ 947 h 1872"/>
                  <a:gd name="T22" fmla="*/ 69 w 1873"/>
                  <a:gd name="T23" fmla="*/ 958 h 1872"/>
                  <a:gd name="T24" fmla="*/ 130 w 1873"/>
                  <a:gd name="T25" fmla="*/ 990 h 1872"/>
                  <a:gd name="T26" fmla="*/ 273 w 1873"/>
                  <a:gd name="T27" fmla="*/ 957 h 1872"/>
                  <a:gd name="T28" fmla="*/ 455 w 1873"/>
                  <a:gd name="T29" fmla="*/ 899 h 1872"/>
                  <a:gd name="T30" fmla="*/ 637 w 1873"/>
                  <a:gd name="T31" fmla="*/ 958 h 1872"/>
                  <a:gd name="T32" fmla="*/ 1351 w 1873"/>
                  <a:gd name="T33" fmla="*/ 954 h 1872"/>
                  <a:gd name="T34" fmla="*/ 1375 w 1873"/>
                  <a:gd name="T35" fmla="*/ 913 h 1872"/>
                  <a:gd name="T36" fmla="*/ 840 w 1873"/>
                  <a:gd name="T37" fmla="*/ 878 h 1872"/>
                  <a:gd name="T38" fmla="*/ 635 w 1873"/>
                  <a:gd name="T39" fmla="*/ 913 h 1872"/>
                  <a:gd name="T40" fmla="*/ 448 w 1873"/>
                  <a:gd name="T41" fmla="*/ 855 h 1872"/>
                  <a:gd name="T42" fmla="*/ 251 w 1873"/>
                  <a:gd name="T43" fmla="*/ 896 h 1872"/>
                  <a:gd name="T44" fmla="*/ 124 w 1873"/>
                  <a:gd name="T45" fmla="*/ 945 h 1872"/>
                  <a:gd name="T46" fmla="*/ 77 w 1873"/>
                  <a:gd name="T47" fmla="*/ 914 h 1872"/>
                  <a:gd name="T48" fmla="*/ 272 w 1873"/>
                  <a:gd name="T49" fmla="*/ 568 h 1872"/>
                  <a:gd name="T50" fmla="*/ 492 w 1873"/>
                  <a:gd name="T51" fmla="*/ 636 h 1872"/>
                  <a:gd name="T52" fmla="*/ 1398 w 1873"/>
                  <a:gd name="T53" fmla="*/ 330 h 1872"/>
                  <a:gd name="T54" fmla="*/ 1511 w 1873"/>
                  <a:gd name="T55" fmla="*/ 602 h 1872"/>
                  <a:gd name="T56" fmla="*/ 1828 w 1873"/>
                  <a:gd name="T57" fmla="*/ 1828 h 1872"/>
                  <a:gd name="T58" fmla="*/ 67 w 1873"/>
                  <a:gd name="T59" fmla="*/ 1688 h 1872"/>
                  <a:gd name="T60" fmla="*/ 350 w 1873"/>
                  <a:gd name="T61" fmla="*/ 1691 h 1872"/>
                  <a:gd name="T62" fmla="*/ 440 w 1873"/>
                  <a:gd name="T63" fmla="*/ 1665 h 1872"/>
                  <a:gd name="T64" fmla="*/ 723 w 1873"/>
                  <a:gd name="T65" fmla="*/ 1714 h 1872"/>
                  <a:gd name="T66" fmla="*/ 1013 w 1873"/>
                  <a:gd name="T67" fmla="*/ 1692 h 1872"/>
                  <a:gd name="T68" fmla="*/ 1038 w 1873"/>
                  <a:gd name="T69" fmla="*/ 1712 h 1872"/>
                  <a:gd name="T70" fmla="*/ 1254 w 1873"/>
                  <a:gd name="T71" fmla="*/ 1668 h 1872"/>
                  <a:gd name="T72" fmla="*/ 1042 w 1873"/>
                  <a:gd name="T73" fmla="*/ 1656 h 1872"/>
                  <a:gd name="T74" fmla="*/ 728 w 1873"/>
                  <a:gd name="T75" fmla="*/ 1671 h 1872"/>
                  <a:gd name="T76" fmla="*/ 442 w 1873"/>
                  <a:gd name="T77" fmla="*/ 1620 h 1872"/>
                  <a:gd name="T78" fmla="*/ 354 w 1873"/>
                  <a:gd name="T79" fmla="*/ 1647 h 1872"/>
                  <a:gd name="T80" fmla="*/ 202 w 1873"/>
                  <a:gd name="T81" fmla="*/ 1613 h 1872"/>
                  <a:gd name="T82" fmla="*/ 23 w 1873"/>
                  <a:gd name="T83" fmla="*/ 1670 h 1872"/>
                  <a:gd name="T84" fmla="*/ 45 w 1873"/>
                  <a:gd name="T85" fmla="*/ 1872 h 1872"/>
                  <a:gd name="T86" fmla="*/ 1867 w 1873"/>
                  <a:gd name="T87" fmla="*/ 1865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73" h="1872">
                    <a:moveTo>
                      <a:pt x="261" y="1239"/>
                    </a:moveTo>
                    <a:cubicBezTo>
                      <a:pt x="261" y="1281"/>
                      <a:pt x="261" y="1281"/>
                      <a:pt x="261" y="1281"/>
                    </a:cubicBezTo>
                    <a:cubicBezTo>
                      <a:pt x="479" y="1281"/>
                      <a:pt x="479" y="1281"/>
                      <a:pt x="479" y="1281"/>
                    </a:cubicBezTo>
                    <a:cubicBezTo>
                      <a:pt x="491" y="1281"/>
                      <a:pt x="501" y="1291"/>
                      <a:pt x="501" y="1303"/>
                    </a:cubicBezTo>
                    <a:cubicBezTo>
                      <a:pt x="501" y="1316"/>
                      <a:pt x="491" y="1325"/>
                      <a:pt x="479" y="1325"/>
                    </a:cubicBezTo>
                    <a:cubicBezTo>
                      <a:pt x="261" y="1325"/>
                      <a:pt x="261" y="1325"/>
                      <a:pt x="261" y="1325"/>
                    </a:cubicBezTo>
                    <a:cubicBezTo>
                      <a:pt x="261" y="1367"/>
                      <a:pt x="261" y="1367"/>
                      <a:pt x="261" y="1367"/>
                    </a:cubicBezTo>
                    <a:cubicBezTo>
                      <a:pt x="23" y="1303"/>
                      <a:pt x="23" y="1303"/>
                      <a:pt x="23" y="1303"/>
                    </a:cubicBezTo>
                    <a:lnTo>
                      <a:pt x="261" y="1239"/>
                    </a:lnTo>
                    <a:close/>
                    <a:moveTo>
                      <a:pt x="1873" y="1849"/>
                    </a:moveTo>
                    <a:cubicBezTo>
                      <a:pt x="1813" y="762"/>
                      <a:pt x="1813" y="762"/>
                      <a:pt x="1813" y="762"/>
                    </a:cubicBezTo>
                    <a:cubicBezTo>
                      <a:pt x="1813" y="755"/>
                      <a:pt x="1809" y="749"/>
                      <a:pt x="1804" y="745"/>
                    </a:cubicBezTo>
                    <a:cubicBezTo>
                      <a:pt x="1541" y="569"/>
                      <a:pt x="1541" y="569"/>
                      <a:pt x="1541" y="569"/>
                    </a:cubicBezTo>
                    <a:cubicBezTo>
                      <a:pt x="1436" y="306"/>
                      <a:pt x="1436" y="306"/>
                      <a:pt x="1436" y="306"/>
                    </a:cubicBezTo>
                    <a:cubicBezTo>
                      <a:pt x="1434" y="301"/>
                      <a:pt x="1430" y="297"/>
                      <a:pt x="1425" y="295"/>
                    </a:cubicBezTo>
                    <a:cubicBezTo>
                      <a:pt x="849" y="5"/>
                      <a:pt x="849" y="5"/>
                      <a:pt x="849" y="5"/>
                    </a:cubicBezTo>
                    <a:cubicBezTo>
                      <a:pt x="838" y="0"/>
                      <a:pt x="826" y="3"/>
                      <a:pt x="820" y="13"/>
                    </a:cubicBezTo>
                    <a:cubicBezTo>
                      <a:pt x="464" y="597"/>
                      <a:pt x="464" y="597"/>
                      <a:pt x="464" y="597"/>
                    </a:cubicBezTo>
                    <a:cubicBezTo>
                      <a:pt x="271" y="521"/>
                      <a:pt x="271" y="521"/>
                      <a:pt x="271" y="521"/>
                    </a:cubicBezTo>
                    <a:cubicBezTo>
                      <a:pt x="261" y="517"/>
                      <a:pt x="250" y="520"/>
                      <a:pt x="245" y="530"/>
                    </a:cubicBezTo>
                    <a:cubicBezTo>
                      <a:pt x="4" y="925"/>
                      <a:pt x="4" y="925"/>
                      <a:pt x="4" y="925"/>
                    </a:cubicBezTo>
                    <a:cubicBezTo>
                      <a:pt x="0" y="931"/>
                      <a:pt x="0" y="940"/>
                      <a:pt x="4" y="947"/>
                    </a:cubicBezTo>
                    <a:cubicBezTo>
                      <a:pt x="8" y="954"/>
                      <a:pt x="15" y="958"/>
                      <a:pt x="23" y="958"/>
                    </a:cubicBezTo>
                    <a:cubicBezTo>
                      <a:pt x="69" y="958"/>
                      <a:pt x="69" y="958"/>
                      <a:pt x="69" y="958"/>
                    </a:cubicBezTo>
                    <a:cubicBezTo>
                      <a:pt x="108" y="987"/>
                      <a:pt x="108" y="987"/>
                      <a:pt x="108" y="987"/>
                    </a:cubicBezTo>
                    <a:cubicBezTo>
                      <a:pt x="114" y="992"/>
                      <a:pt x="123" y="993"/>
                      <a:pt x="130" y="990"/>
                    </a:cubicBezTo>
                    <a:cubicBezTo>
                      <a:pt x="240" y="940"/>
                      <a:pt x="240" y="940"/>
                      <a:pt x="240" y="940"/>
                    </a:cubicBezTo>
                    <a:cubicBezTo>
                      <a:pt x="273" y="957"/>
                      <a:pt x="273" y="957"/>
                      <a:pt x="273" y="957"/>
                    </a:cubicBezTo>
                    <a:cubicBezTo>
                      <a:pt x="278" y="960"/>
                      <a:pt x="285" y="960"/>
                      <a:pt x="290" y="958"/>
                    </a:cubicBezTo>
                    <a:cubicBezTo>
                      <a:pt x="455" y="899"/>
                      <a:pt x="455" y="899"/>
                      <a:pt x="455" y="899"/>
                    </a:cubicBezTo>
                    <a:cubicBezTo>
                      <a:pt x="626" y="957"/>
                      <a:pt x="626" y="957"/>
                      <a:pt x="626" y="957"/>
                    </a:cubicBezTo>
                    <a:cubicBezTo>
                      <a:pt x="630" y="958"/>
                      <a:pt x="634" y="958"/>
                      <a:pt x="637" y="958"/>
                    </a:cubicBezTo>
                    <a:cubicBezTo>
                      <a:pt x="840" y="922"/>
                      <a:pt x="840" y="922"/>
                      <a:pt x="840" y="922"/>
                    </a:cubicBezTo>
                    <a:cubicBezTo>
                      <a:pt x="1351" y="954"/>
                      <a:pt x="1351" y="954"/>
                      <a:pt x="1351" y="954"/>
                    </a:cubicBezTo>
                    <a:cubicBezTo>
                      <a:pt x="1373" y="916"/>
                      <a:pt x="1373" y="916"/>
                      <a:pt x="1373" y="916"/>
                    </a:cubicBezTo>
                    <a:cubicBezTo>
                      <a:pt x="1373" y="915"/>
                      <a:pt x="1374" y="914"/>
                      <a:pt x="1375" y="913"/>
                    </a:cubicBezTo>
                    <a:cubicBezTo>
                      <a:pt x="1375" y="912"/>
                      <a:pt x="1375" y="912"/>
                      <a:pt x="1375" y="912"/>
                    </a:cubicBezTo>
                    <a:cubicBezTo>
                      <a:pt x="840" y="878"/>
                      <a:pt x="840" y="878"/>
                      <a:pt x="840" y="878"/>
                    </a:cubicBezTo>
                    <a:cubicBezTo>
                      <a:pt x="838" y="878"/>
                      <a:pt x="837" y="878"/>
                      <a:pt x="835" y="878"/>
                    </a:cubicBezTo>
                    <a:cubicBezTo>
                      <a:pt x="635" y="913"/>
                      <a:pt x="635" y="913"/>
                      <a:pt x="635" y="913"/>
                    </a:cubicBezTo>
                    <a:cubicBezTo>
                      <a:pt x="462" y="855"/>
                      <a:pt x="462" y="855"/>
                      <a:pt x="462" y="855"/>
                    </a:cubicBezTo>
                    <a:cubicBezTo>
                      <a:pt x="457" y="854"/>
                      <a:pt x="452" y="854"/>
                      <a:pt x="448" y="855"/>
                    </a:cubicBezTo>
                    <a:cubicBezTo>
                      <a:pt x="284" y="913"/>
                      <a:pt x="284" y="913"/>
                      <a:pt x="284" y="913"/>
                    </a:cubicBezTo>
                    <a:cubicBezTo>
                      <a:pt x="251" y="896"/>
                      <a:pt x="251" y="896"/>
                      <a:pt x="251" y="896"/>
                    </a:cubicBezTo>
                    <a:cubicBezTo>
                      <a:pt x="245" y="893"/>
                      <a:pt x="238" y="893"/>
                      <a:pt x="232" y="896"/>
                    </a:cubicBezTo>
                    <a:cubicBezTo>
                      <a:pt x="124" y="945"/>
                      <a:pt x="124" y="945"/>
                      <a:pt x="124" y="945"/>
                    </a:cubicBezTo>
                    <a:cubicBezTo>
                      <a:pt x="90" y="919"/>
                      <a:pt x="90" y="919"/>
                      <a:pt x="90" y="919"/>
                    </a:cubicBezTo>
                    <a:cubicBezTo>
                      <a:pt x="87" y="916"/>
                      <a:pt x="82" y="914"/>
                      <a:pt x="77" y="914"/>
                    </a:cubicBezTo>
                    <a:cubicBezTo>
                      <a:pt x="62" y="914"/>
                      <a:pt x="62" y="914"/>
                      <a:pt x="62" y="914"/>
                    </a:cubicBezTo>
                    <a:cubicBezTo>
                      <a:pt x="272" y="568"/>
                      <a:pt x="272" y="568"/>
                      <a:pt x="272" y="568"/>
                    </a:cubicBezTo>
                    <a:cubicBezTo>
                      <a:pt x="465" y="645"/>
                      <a:pt x="465" y="645"/>
                      <a:pt x="465" y="645"/>
                    </a:cubicBezTo>
                    <a:cubicBezTo>
                      <a:pt x="475" y="649"/>
                      <a:pt x="487" y="645"/>
                      <a:pt x="492" y="636"/>
                    </a:cubicBezTo>
                    <a:cubicBezTo>
                      <a:pt x="847" y="53"/>
                      <a:pt x="847" y="53"/>
                      <a:pt x="847" y="53"/>
                    </a:cubicBezTo>
                    <a:cubicBezTo>
                      <a:pt x="1398" y="330"/>
                      <a:pt x="1398" y="330"/>
                      <a:pt x="1398" y="330"/>
                    </a:cubicBezTo>
                    <a:cubicBezTo>
                      <a:pt x="1503" y="592"/>
                      <a:pt x="1503" y="592"/>
                      <a:pt x="1503" y="592"/>
                    </a:cubicBezTo>
                    <a:cubicBezTo>
                      <a:pt x="1504" y="596"/>
                      <a:pt x="1507" y="599"/>
                      <a:pt x="1511" y="602"/>
                    </a:cubicBezTo>
                    <a:cubicBezTo>
                      <a:pt x="1770" y="776"/>
                      <a:pt x="1770" y="776"/>
                      <a:pt x="1770" y="776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67" y="1828"/>
                      <a:pt x="67" y="1828"/>
                      <a:pt x="67" y="1828"/>
                    </a:cubicBezTo>
                    <a:cubicBezTo>
                      <a:pt x="67" y="1688"/>
                      <a:pt x="67" y="1688"/>
                      <a:pt x="67" y="1688"/>
                    </a:cubicBezTo>
                    <a:cubicBezTo>
                      <a:pt x="206" y="1657"/>
                      <a:pt x="206" y="1657"/>
                      <a:pt x="206" y="1657"/>
                    </a:cubicBezTo>
                    <a:cubicBezTo>
                      <a:pt x="350" y="1691"/>
                      <a:pt x="350" y="1691"/>
                      <a:pt x="350" y="1691"/>
                    </a:cubicBezTo>
                    <a:cubicBezTo>
                      <a:pt x="354" y="1692"/>
                      <a:pt x="358" y="1692"/>
                      <a:pt x="362" y="1691"/>
                    </a:cubicBezTo>
                    <a:cubicBezTo>
                      <a:pt x="440" y="1665"/>
                      <a:pt x="440" y="1665"/>
                      <a:pt x="440" y="1665"/>
                    </a:cubicBezTo>
                    <a:cubicBezTo>
                      <a:pt x="626" y="1696"/>
                      <a:pt x="626" y="1696"/>
                      <a:pt x="626" y="1696"/>
                    </a:cubicBezTo>
                    <a:cubicBezTo>
                      <a:pt x="723" y="1714"/>
                      <a:pt x="723" y="1714"/>
                      <a:pt x="723" y="1714"/>
                    </a:cubicBezTo>
                    <a:cubicBezTo>
                      <a:pt x="725" y="1715"/>
                      <a:pt x="727" y="1715"/>
                      <a:pt x="729" y="1715"/>
                    </a:cubicBezTo>
                    <a:cubicBezTo>
                      <a:pt x="1013" y="1692"/>
                      <a:pt x="1013" y="1692"/>
                      <a:pt x="1013" y="1692"/>
                    </a:cubicBezTo>
                    <a:cubicBezTo>
                      <a:pt x="1020" y="1702"/>
                      <a:pt x="1020" y="1702"/>
                      <a:pt x="1020" y="1702"/>
                    </a:cubicBezTo>
                    <a:cubicBezTo>
                      <a:pt x="1024" y="1708"/>
                      <a:pt x="1030" y="1712"/>
                      <a:pt x="1038" y="1712"/>
                    </a:cubicBezTo>
                    <a:cubicBezTo>
                      <a:pt x="1269" y="1712"/>
                      <a:pt x="1269" y="1712"/>
                      <a:pt x="1269" y="1712"/>
                    </a:cubicBezTo>
                    <a:cubicBezTo>
                      <a:pt x="1254" y="1668"/>
                      <a:pt x="1254" y="1668"/>
                      <a:pt x="1254" y="1668"/>
                    </a:cubicBezTo>
                    <a:cubicBezTo>
                      <a:pt x="1049" y="1668"/>
                      <a:pt x="1049" y="1668"/>
                      <a:pt x="1049" y="1668"/>
                    </a:cubicBezTo>
                    <a:cubicBezTo>
                      <a:pt x="1042" y="1656"/>
                      <a:pt x="1042" y="1656"/>
                      <a:pt x="1042" y="1656"/>
                    </a:cubicBezTo>
                    <a:cubicBezTo>
                      <a:pt x="1037" y="1650"/>
                      <a:pt x="1030" y="1646"/>
                      <a:pt x="1022" y="1647"/>
                    </a:cubicBezTo>
                    <a:cubicBezTo>
                      <a:pt x="728" y="1671"/>
                      <a:pt x="728" y="1671"/>
                      <a:pt x="728" y="1671"/>
                    </a:cubicBezTo>
                    <a:cubicBezTo>
                      <a:pt x="634" y="1653"/>
                      <a:pt x="634" y="1653"/>
                      <a:pt x="634" y="1653"/>
                    </a:cubicBezTo>
                    <a:cubicBezTo>
                      <a:pt x="442" y="1620"/>
                      <a:pt x="442" y="1620"/>
                      <a:pt x="442" y="1620"/>
                    </a:cubicBezTo>
                    <a:cubicBezTo>
                      <a:pt x="438" y="1620"/>
                      <a:pt x="434" y="1620"/>
                      <a:pt x="431" y="1621"/>
                    </a:cubicBezTo>
                    <a:cubicBezTo>
                      <a:pt x="354" y="1647"/>
                      <a:pt x="354" y="1647"/>
                      <a:pt x="354" y="1647"/>
                    </a:cubicBezTo>
                    <a:cubicBezTo>
                      <a:pt x="211" y="1613"/>
                      <a:pt x="211" y="1613"/>
                      <a:pt x="211" y="1613"/>
                    </a:cubicBezTo>
                    <a:cubicBezTo>
                      <a:pt x="208" y="1613"/>
                      <a:pt x="205" y="1612"/>
                      <a:pt x="202" y="1613"/>
                    </a:cubicBezTo>
                    <a:cubicBezTo>
                      <a:pt x="40" y="1649"/>
                      <a:pt x="40" y="1649"/>
                      <a:pt x="40" y="1649"/>
                    </a:cubicBezTo>
                    <a:cubicBezTo>
                      <a:pt x="30" y="1651"/>
                      <a:pt x="23" y="1660"/>
                      <a:pt x="23" y="1670"/>
                    </a:cubicBezTo>
                    <a:cubicBezTo>
                      <a:pt x="23" y="1850"/>
                      <a:pt x="23" y="1850"/>
                      <a:pt x="23" y="1850"/>
                    </a:cubicBezTo>
                    <a:cubicBezTo>
                      <a:pt x="23" y="1862"/>
                      <a:pt x="33" y="1872"/>
                      <a:pt x="45" y="1872"/>
                    </a:cubicBezTo>
                    <a:cubicBezTo>
                      <a:pt x="1851" y="1872"/>
                      <a:pt x="1851" y="1872"/>
                      <a:pt x="1851" y="1872"/>
                    </a:cubicBezTo>
                    <a:cubicBezTo>
                      <a:pt x="1857" y="1872"/>
                      <a:pt x="1863" y="1870"/>
                      <a:pt x="1867" y="1865"/>
                    </a:cubicBezTo>
                    <a:cubicBezTo>
                      <a:pt x="1871" y="1861"/>
                      <a:pt x="1873" y="1855"/>
                      <a:pt x="1873" y="184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  <p:sp>
            <p:nvSpPr>
              <p:cNvPr id="33" name="Freeform 16">
                <a:extLst>
                  <a:ext uri="{FF2B5EF4-FFF2-40B4-BE49-F238E27FC236}">
                    <a16:creationId xmlns:a16="http://schemas.microsoft.com/office/drawing/2014/main" id="{BDEA1ED8-AEF2-A919-A792-E876872348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882" y="3422015"/>
                <a:ext cx="925512" cy="561975"/>
              </a:xfrm>
              <a:custGeom>
                <a:avLst/>
                <a:gdLst>
                  <a:gd name="T0" fmla="*/ 715 w 1296"/>
                  <a:gd name="T1" fmla="*/ 676 h 786"/>
                  <a:gd name="T2" fmla="*/ 401 w 1296"/>
                  <a:gd name="T3" fmla="*/ 701 h 786"/>
                  <a:gd name="T4" fmla="*/ 313 w 1296"/>
                  <a:gd name="T5" fmla="*/ 685 h 786"/>
                  <a:gd name="T6" fmla="*/ 109 w 1296"/>
                  <a:gd name="T7" fmla="*/ 650 h 786"/>
                  <a:gd name="T8" fmla="*/ 98 w 1296"/>
                  <a:gd name="T9" fmla="*/ 651 h 786"/>
                  <a:gd name="T10" fmla="*/ 23 w 1296"/>
                  <a:gd name="T11" fmla="*/ 676 h 786"/>
                  <a:gd name="T12" fmla="*/ 0 w 1296"/>
                  <a:gd name="T13" fmla="*/ 671 h 786"/>
                  <a:gd name="T14" fmla="*/ 144 w 1296"/>
                  <a:gd name="T15" fmla="*/ 513 h 786"/>
                  <a:gd name="T16" fmla="*/ 251 w 1296"/>
                  <a:gd name="T17" fmla="*/ 516 h 786"/>
                  <a:gd name="T18" fmla="*/ 427 w 1296"/>
                  <a:gd name="T19" fmla="*/ 360 h 786"/>
                  <a:gd name="T20" fmla="*/ 532 w 1296"/>
                  <a:gd name="T21" fmla="*/ 454 h 786"/>
                  <a:gd name="T22" fmla="*/ 670 w 1296"/>
                  <a:gd name="T23" fmla="*/ 487 h 786"/>
                  <a:gd name="T24" fmla="*/ 710 w 1296"/>
                  <a:gd name="T25" fmla="*/ 566 h 786"/>
                  <a:gd name="T26" fmla="*/ 784 w 1296"/>
                  <a:gd name="T27" fmla="*/ 620 h 786"/>
                  <a:gd name="T28" fmla="*/ 848 w 1296"/>
                  <a:gd name="T29" fmla="*/ 699 h 786"/>
                  <a:gd name="T30" fmla="*/ 744 w 1296"/>
                  <a:gd name="T31" fmla="*/ 699 h 786"/>
                  <a:gd name="T32" fmla="*/ 735 w 1296"/>
                  <a:gd name="T33" fmla="*/ 685 h 786"/>
                  <a:gd name="T34" fmla="*/ 715 w 1296"/>
                  <a:gd name="T35" fmla="*/ 676 h 786"/>
                  <a:gd name="T36" fmla="*/ 1125 w 1296"/>
                  <a:gd name="T37" fmla="*/ 669 h 786"/>
                  <a:gd name="T38" fmla="*/ 1296 w 1296"/>
                  <a:gd name="T39" fmla="*/ 499 h 786"/>
                  <a:gd name="T40" fmla="*/ 1207 w 1296"/>
                  <a:gd name="T41" fmla="*/ 326 h 786"/>
                  <a:gd name="T42" fmla="*/ 1130 w 1296"/>
                  <a:gd name="T43" fmla="*/ 186 h 786"/>
                  <a:gd name="T44" fmla="*/ 1138 w 1296"/>
                  <a:gd name="T45" fmla="*/ 137 h 786"/>
                  <a:gd name="T46" fmla="*/ 1161 w 1296"/>
                  <a:gd name="T47" fmla="*/ 68 h 786"/>
                  <a:gd name="T48" fmla="*/ 1088 w 1296"/>
                  <a:gd name="T49" fmla="*/ 0 h 786"/>
                  <a:gd name="T50" fmla="*/ 1081 w 1296"/>
                  <a:gd name="T51" fmla="*/ 15 h 786"/>
                  <a:gd name="T52" fmla="*/ 952 w 1296"/>
                  <a:gd name="T53" fmla="*/ 242 h 786"/>
                  <a:gd name="T54" fmla="*/ 950 w 1296"/>
                  <a:gd name="T55" fmla="*/ 244 h 786"/>
                  <a:gd name="T56" fmla="*/ 1011 w 1296"/>
                  <a:gd name="T57" fmla="*/ 369 h 786"/>
                  <a:gd name="T58" fmla="*/ 1009 w 1296"/>
                  <a:gd name="T59" fmla="*/ 412 h 786"/>
                  <a:gd name="T60" fmla="*/ 933 w 1296"/>
                  <a:gd name="T61" fmla="*/ 619 h 786"/>
                  <a:gd name="T62" fmla="*/ 930 w 1296"/>
                  <a:gd name="T63" fmla="*/ 624 h 786"/>
                  <a:gd name="T64" fmla="*/ 986 w 1296"/>
                  <a:gd name="T65" fmla="*/ 786 h 786"/>
                  <a:gd name="T66" fmla="*/ 1158 w 1296"/>
                  <a:gd name="T67" fmla="*/ 786 h 786"/>
                  <a:gd name="T68" fmla="*/ 1119 w 1296"/>
                  <a:gd name="T69" fmla="*/ 718 h 786"/>
                  <a:gd name="T70" fmla="*/ 1125 w 1296"/>
                  <a:gd name="T71" fmla="*/ 66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6" h="786">
                    <a:moveTo>
                      <a:pt x="715" y="676"/>
                    </a:moveTo>
                    <a:cubicBezTo>
                      <a:pt x="401" y="701"/>
                      <a:pt x="401" y="701"/>
                      <a:pt x="401" y="701"/>
                    </a:cubicBezTo>
                    <a:cubicBezTo>
                      <a:pt x="313" y="685"/>
                      <a:pt x="313" y="685"/>
                      <a:pt x="313" y="685"/>
                    </a:cubicBezTo>
                    <a:cubicBezTo>
                      <a:pt x="109" y="650"/>
                      <a:pt x="109" y="650"/>
                      <a:pt x="109" y="650"/>
                    </a:cubicBezTo>
                    <a:cubicBezTo>
                      <a:pt x="106" y="649"/>
                      <a:pt x="102" y="650"/>
                      <a:pt x="98" y="651"/>
                    </a:cubicBezTo>
                    <a:cubicBezTo>
                      <a:pt x="23" y="676"/>
                      <a:pt x="23" y="676"/>
                      <a:pt x="23" y="676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144" y="513"/>
                      <a:pt x="144" y="513"/>
                      <a:pt x="144" y="513"/>
                    </a:cubicBezTo>
                    <a:cubicBezTo>
                      <a:pt x="251" y="516"/>
                      <a:pt x="251" y="516"/>
                      <a:pt x="251" y="516"/>
                    </a:cubicBezTo>
                    <a:cubicBezTo>
                      <a:pt x="427" y="360"/>
                      <a:pt x="427" y="360"/>
                      <a:pt x="427" y="360"/>
                    </a:cubicBezTo>
                    <a:cubicBezTo>
                      <a:pt x="532" y="454"/>
                      <a:pt x="532" y="454"/>
                      <a:pt x="532" y="454"/>
                    </a:cubicBezTo>
                    <a:cubicBezTo>
                      <a:pt x="534" y="456"/>
                      <a:pt x="670" y="487"/>
                      <a:pt x="670" y="487"/>
                    </a:cubicBezTo>
                    <a:cubicBezTo>
                      <a:pt x="710" y="566"/>
                      <a:pt x="710" y="566"/>
                      <a:pt x="710" y="566"/>
                    </a:cubicBezTo>
                    <a:cubicBezTo>
                      <a:pt x="784" y="620"/>
                      <a:pt x="784" y="620"/>
                      <a:pt x="784" y="620"/>
                    </a:cubicBezTo>
                    <a:cubicBezTo>
                      <a:pt x="848" y="699"/>
                      <a:pt x="848" y="699"/>
                      <a:pt x="848" y="699"/>
                    </a:cubicBezTo>
                    <a:cubicBezTo>
                      <a:pt x="744" y="699"/>
                      <a:pt x="744" y="699"/>
                      <a:pt x="744" y="699"/>
                    </a:cubicBezTo>
                    <a:cubicBezTo>
                      <a:pt x="735" y="685"/>
                      <a:pt x="735" y="685"/>
                      <a:pt x="735" y="685"/>
                    </a:cubicBezTo>
                    <a:cubicBezTo>
                      <a:pt x="730" y="679"/>
                      <a:pt x="723" y="675"/>
                      <a:pt x="715" y="676"/>
                    </a:cubicBezTo>
                    <a:close/>
                    <a:moveTo>
                      <a:pt x="1125" y="669"/>
                    </a:moveTo>
                    <a:cubicBezTo>
                      <a:pt x="1296" y="499"/>
                      <a:pt x="1296" y="499"/>
                      <a:pt x="1296" y="499"/>
                    </a:cubicBezTo>
                    <a:cubicBezTo>
                      <a:pt x="1207" y="326"/>
                      <a:pt x="1207" y="326"/>
                      <a:pt x="1207" y="326"/>
                    </a:cubicBezTo>
                    <a:cubicBezTo>
                      <a:pt x="1130" y="186"/>
                      <a:pt x="1130" y="186"/>
                      <a:pt x="1130" y="186"/>
                    </a:cubicBezTo>
                    <a:cubicBezTo>
                      <a:pt x="1121" y="170"/>
                      <a:pt x="1124" y="150"/>
                      <a:pt x="1138" y="137"/>
                    </a:cubicBezTo>
                    <a:cubicBezTo>
                      <a:pt x="1150" y="125"/>
                      <a:pt x="1164" y="104"/>
                      <a:pt x="1161" y="68"/>
                    </a:cubicBezTo>
                    <a:cubicBezTo>
                      <a:pt x="1161" y="67"/>
                      <a:pt x="1158" y="49"/>
                      <a:pt x="1088" y="0"/>
                    </a:cubicBezTo>
                    <a:cubicBezTo>
                      <a:pt x="1087" y="5"/>
                      <a:pt x="1084" y="10"/>
                      <a:pt x="1081" y="15"/>
                    </a:cubicBezTo>
                    <a:cubicBezTo>
                      <a:pt x="952" y="242"/>
                      <a:pt x="952" y="242"/>
                      <a:pt x="952" y="242"/>
                    </a:cubicBezTo>
                    <a:cubicBezTo>
                      <a:pt x="951" y="243"/>
                      <a:pt x="951" y="244"/>
                      <a:pt x="950" y="244"/>
                    </a:cubicBezTo>
                    <a:cubicBezTo>
                      <a:pt x="1011" y="369"/>
                      <a:pt x="1011" y="369"/>
                      <a:pt x="1011" y="369"/>
                    </a:cubicBezTo>
                    <a:cubicBezTo>
                      <a:pt x="1019" y="383"/>
                      <a:pt x="1018" y="400"/>
                      <a:pt x="1009" y="412"/>
                    </a:cubicBezTo>
                    <a:cubicBezTo>
                      <a:pt x="933" y="619"/>
                      <a:pt x="933" y="619"/>
                      <a:pt x="933" y="619"/>
                    </a:cubicBezTo>
                    <a:cubicBezTo>
                      <a:pt x="932" y="621"/>
                      <a:pt x="931" y="623"/>
                      <a:pt x="930" y="624"/>
                    </a:cubicBezTo>
                    <a:cubicBezTo>
                      <a:pt x="986" y="786"/>
                      <a:pt x="986" y="786"/>
                      <a:pt x="986" y="786"/>
                    </a:cubicBezTo>
                    <a:cubicBezTo>
                      <a:pt x="1158" y="786"/>
                      <a:pt x="1158" y="786"/>
                      <a:pt x="1158" y="786"/>
                    </a:cubicBezTo>
                    <a:cubicBezTo>
                      <a:pt x="1119" y="718"/>
                      <a:pt x="1119" y="718"/>
                      <a:pt x="1119" y="718"/>
                    </a:cubicBezTo>
                    <a:cubicBezTo>
                      <a:pt x="1110" y="702"/>
                      <a:pt x="1112" y="682"/>
                      <a:pt x="1125" y="669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FE42CF4-10CC-2A15-01D1-30AFFF2BD38C}"/>
              </a:ext>
            </a:extLst>
          </p:cNvPr>
          <p:cNvGrpSpPr>
            <a:grpSpLocks noChangeAspect="1"/>
          </p:cNvGrpSpPr>
          <p:nvPr/>
        </p:nvGrpSpPr>
        <p:grpSpPr>
          <a:xfrm>
            <a:off x="2773890" y="3282135"/>
            <a:ext cx="794576" cy="795312"/>
            <a:chOff x="5273801" y="2606040"/>
            <a:chExt cx="1644396" cy="1645920"/>
          </a:xfrm>
        </p:grpSpPr>
        <p:sp>
          <p:nvSpPr>
            <p:cNvPr id="45" name="AutoShape 13">
              <a:extLst>
                <a:ext uri="{FF2B5EF4-FFF2-40B4-BE49-F238E27FC236}">
                  <a16:creationId xmlns:a16="http://schemas.microsoft.com/office/drawing/2014/main" id="{BF1C601F-DB92-D33A-D17F-C9D9ADE330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E7ED360-FF72-8A4A-3F1F-219424395D33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50" name="Freeform 15">
                <a:extLst>
                  <a:ext uri="{FF2B5EF4-FFF2-40B4-BE49-F238E27FC236}">
                    <a16:creationId xmlns:a16="http://schemas.microsoft.com/office/drawing/2014/main" id="{2439BB8D-8650-1EE3-1E4D-856031CC26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1" name="Freeform 16">
                <a:extLst>
                  <a:ext uri="{FF2B5EF4-FFF2-40B4-BE49-F238E27FC236}">
                    <a16:creationId xmlns:a16="http://schemas.microsoft.com/office/drawing/2014/main" id="{79B38351-0A30-DCBC-FDCE-FA8D5BFAD5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6DF3A62-2299-199D-A50B-6C2D838ECC75}"/>
              </a:ext>
            </a:extLst>
          </p:cNvPr>
          <p:cNvGrpSpPr>
            <a:grpSpLocks noChangeAspect="1"/>
          </p:cNvGrpSpPr>
          <p:nvPr/>
        </p:nvGrpSpPr>
        <p:grpSpPr>
          <a:xfrm>
            <a:off x="6398703" y="3282135"/>
            <a:ext cx="794576" cy="795312"/>
            <a:chOff x="5273801" y="2606040"/>
            <a:chExt cx="1644396" cy="1645920"/>
          </a:xfrm>
        </p:grpSpPr>
        <p:sp>
          <p:nvSpPr>
            <p:cNvPr id="53" name="AutoShape 13">
              <a:extLst>
                <a:ext uri="{FF2B5EF4-FFF2-40B4-BE49-F238E27FC236}">
                  <a16:creationId xmlns:a16="http://schemas.microsoft.com/office/drawing/2014/main" id="{33CD4E89-FDCB-0760-4F9C-EA0829E4EBC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CA63D99-C271-AFA7-D251-40BD4032138B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55" name="Freeform 15">
                <a:extLst>
                  <a:ext uri="{FF2B5EF4-FFF2-40B4-BE49-F238E27FC236}">
                    <a16:creationId xmlns:a16="http://schemas.microsoft.com/office/drawing/2014/main" id="{DD6E26A6-EB79-7DA7-46BE-B268C6FCCA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6" name="Freeform 16">
                <a:extLst>
                  <a:ext uri="{FF2B5EF4-FFF2-40B4-BE49-F238E27FC236}">
                    <a16:creationId xmlns:a16="http://schemas.microsoft.com/office/drawing/2014/main" id="{C8016D6C-054A-3E40-E4F1-7DAA753DF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AC4E362-78A6-0128-F935-B9BC47A8D48A}"/>
              </a:ext>
            </a:extLst>
          </p:cNvPr>
          <p:cNvGrpSpPr>
            <a:grpSpLocks noChangeAspect="1"/>
          </p:cNvGrpSpPr>
          <p:nvPr/>
        </p:nvGrpSpPr>
        <p:grpSpPr>
          <a:xfrm>
            <a:off x="9902739" y="3282135"/>
            <a:ext cx="794576" cy="795312"/>
            <a:chOff x="5273801" y="2606040"/>
            <a:chExt cx="1644396" cy="1645920"/>
          </a:xfrm>
        </p:grpSpPr>
        <p:sp>
          <p:nvSpPr>
            <p:cNvPr id="59" name="AutoShape 13">
              <a:extLst>
                <a:ext uri="{FF2B5EF4-FFF2-40B4-BE49-F238E27FC236}">
                  <a16:creationId xmlns:a16="http://schemas.microsoft.com/office/drawing/2014/main" id="{2678B00F-9F30-8A6C-A662-BA89BB6C75D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3A2A42A0-DBE8-6F9F-350C-F22D34AE40CD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61" name="Freeform 15">
                <a:extLst>
                  <a:ext uri="{FF2B5EF4-FFF2-40B4-BE49-F238E27FC236}">
                    <a16:creationId xmlns:a16="http://schemas.microsoft.com/office/drawing/2014/main" id="{24B9AD02-5E8F-A8F2-A174-D182891D3D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62" name="Freeform 16">
                <a:extLst>
                  <a:ext uri="{FF2B5EF4-FFF2-40B4-BE49-F238E27FC236}">
                    <a16:creationId xmlns:a16="http://schemas.microsoft.com/office/drawing/2014/main" id="{3BAC0E1C-C552-BA38-6F3A-644559078C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A2DA729-48FB-9E14-63CD-156A1BF1DF16}"/>
              </a:ext>
            </a:extLst>
          </p:cNvPr>
          <p:cNvCxnSpPr>
            <a:cxnSpLocks/>
          </p:cNvCxnSpPr>
          <p:nvPr/>
        </p:nvCxnSpPr>
        <p:spPr>
          <a:xfrm>
            <a:off x="4458615" y="1427967"/>
            <a:ext cx="0" cy="4809995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ABA65035-C524-E323-FBF6-7EE9B4E87C27}"/>
              </a:ext>
            </a:extLst>
          </p:cNvPr>
          <p:cNvSpPr/>
          <p:nvPr/>
        </p:nvSpPr>
        <p:spPr>
          <a:xfrm>
            <a:off x="1516385" y="1427967"/>
            <a:ext cx="1811216" cy="3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i="1" dirty="0">
                <a:solidFill>
                  <a:schemeClr val="tx1"/>
                </a:solidFill>
              </a:rPr>
              <a:t>No </a:t>
            </a:r>
            <a:r>
              <a:rPr lang="es-ES" sz="1400" i="1" dirty="0" err="1">
                <a:solidFill>
                  <a:schemeClr val="tx1"/>
                </a:solidFill>
              </a:rPr>
              <a:t>investment</a:t>
            </a:r>
            <a:endParaRPr lang="en-US" sz="1400" i="1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7F3FA62-0129-D455-18A0-E3B4F1D9D660}"/>
              </a:ext>
            </a:extLst>
          </p:cNvPr>
          <p:cNvSpPr/>
          <p:nvPr/>
        </p:nvSpPr>
        <p:spPr>
          <a:xfrm>
            <a:off x="7041891" y="1427967"/>
            <a:ext cx="1811216" cy="3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i="1" dirty="0" err="1">
                <a:solidFill>
                  <a:schemeClr val="tx1"/>
                </a:solidFill>
              </a:rPr>
              <a:t>Investment</a:t>
            </a:r>
            <a:endParaRPr lang="en-US" sz="1400" i="1" dirty="0">
              <a:solidFill>
                <a:schemeClr val="tx1"/>
              </a:solidFill>
            </a:endParaRPr>
          </a:p>
        </p:txBody>
      </p:sp>
      <p:sp>
        <p:nvSpPr>
          <p:cNvPr id="3" name="Freeform 905">
            <a:extLst>
              <a:ext uri="{FF2B5EF4-FFF2-40B4-BE49-F238E27FC236}">
                <a16:creationId xmlns:a16="http://schemas.microsoft.com/office/drawing/2014/main" id="{E6B6D473-7839-FBEF-74EA-CBCB8101847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35461" y="4561211"/>
            <a:ext cx="255138" cy="235933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sp>
        <p:nvSpPr>
          <p:cNvPr id="7" name="Freeform 905">
            <a:extLst>
              <a:ext uri="{FF2B5EF4-FFF2-40B4-BE49-F238E27FC236}">
                <a16:creationId xmlns:a16="http://schemas.microsoft.com/office/drawing/2014/main" id="{D0862122-0753-6735-C2AC-33C04AE2DE8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28923" y="5532160"/>
            <a:ext cx="255138" cy="235933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C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B337FE8-5B86-D4A9-9665-5AA8BC7D079B}"/>
              </a:ext>
            </a:extLst>
          </p:cNvPr>
          <p:cNvSpPr/>
          <p:nvPr/>
        </p:nvSpPr>
        <p:spPr>
          <a:xfrm>
            <a:off x="5883966" y="5516148"/>
            <a:ext cx="1532214" cy="25194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y </a:t>
            </a:r>
            <a:r>
              <a:rPr kumimoji="0" lang="es-E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iciency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81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" grpId="0" animBg="1"/>
      <p:bldP spid="6" grpId="0" animBg="1"/>
      <p:bldP spid="21" grpId="0" animBg="1"/>
      <p:bldP spid="22" grpId="0"/>
      <p:bldP spid="24" grpId="0" animBg="1"/>
      <p:bldP spid="31" grpId="0" animBg="1"/>
      <p:bldP spid="35" grpId="0" animBg="1"/>
      <p:bldP spid="36" grpId="0" animBg="1"/>
      <p:bldP spid="38" grpId="0" animBg="1"/>
      <p:bldP spid="39" grpId="0" animBg="1"/>
      <p:bldP spid="40" grpId="0" animBg="1"/>
      <p:bldP spid="41" grpId="0" animBg="1"/>
      <p:bldP spid="43" grpId="0" animBg="1"/>
      <p:bldP spid="46" grpId="0" animBg="1"/>
      <p:bldP spid="47" grpId="0" animBg="1"/>
      <p:bldP spid="11" grpId="0"/>
      <p:bldP spid="12" grpId="0"/>
      <p:bldP spid="13" grpId="0"/>
      <p:bldP spid="14" grpId="0" animBg="1"/>
      <p:bldP spid="15" grpId="0" animBg="1"/>
      <p:bldP spid="17" grpId="0" animBg="1"/>
      <p:bldP spid="18" grpId="0" animBg="1"/>
      <p:bldP spid="72" grpId="0"/>
      <p:bldP spid="73" grpId="0"/>
      <p:bldP spid="3" grpId="0" animBg="1"/>
      <p:bldP spid="7" grpId="0" animBg="1"/>
      <p:bldP spid="3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44D16DB-BD2A-0FFC-2178-C720C0480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3368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44D16DB-BD2A-0FFC-2178-C720C0480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4BE302-BB4F-43AF-6BAC-14C25F875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274046"/>
            <a:ext cx="8476912" cy="939632"/>
          </a:xfrm>
        </p:spPr>
        <p:txBody>
          <a:bodyPr vert="horz"/>
          <a:lstStyle/>
          <a:p>
            <a:r>
              <a:rPr lang="es-ES" dirty="0" err="1"/>
              <a:t>We</a:t>
            </a:r>
            <a:r>
              <a:rPr lang="es-ES" dirty="0"/>
              <a:t> </a:t>
            </a:r>
            <a:r>
              <a:rPr lang="es-ES" dirty="0" err="1"/>
              <a:t>model</a:t>
            </a:r>
            <a:r>
              <a:rPr lang="es-ES" dirty="0"/>
              <a:t> a </a:t>
            </a:r>
            <a:r>
              <a:rPr lang="es-ES" dirty="0" err="1"/>
              <a:t>monopolist</a:t>
            </a:r>
            <a:r>
              <a:rPr lang="es-ES" dirty="0"/>
              <a:t> </a:t>
            </a:r>
            <a:r>
              <a:rPr lang="es-ES" dirty="0" err="1"/>
              <a:t>producer</a:t>
            </a:r>
            <a:r>
              <a:rPr lang="es-ES" dirty="0"/>
              <a:t> and </a:t>
            </a:r>
            <a:r>
              <a:rPr lang="es-ES" dirty="0" err="1"/>
              <a:t>check</a:t>
            </a:r>
            <a:r>
              <a:rPr lang="es-ES" dirty="0"/>
              <a:t> </a:t>
            </a:r>
            <a:r>
              <a:rPr lang="es-ES" dirty="0" err="1"/>
              <a:t>alignment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regulator</a:t>
            </a:r>
            <a:r>
              <a:rPr lang="es-ES" dirty="0"/>
              <a:t> </a:t>
            </a:r>
            <a:r>
              <a:rPr lang="es-ES" dirty="0" err="1"/>
              <a:t>objectives</a:t>
            </a:r>
            <a:r>
              <a:rPr lang="es-ES" dirty="0"/>
              <a:t> 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6DDFF1-13D7-D9B8-8134-25F5BA23A58F}"/>
              </a:ext>
            </a:extLst>
          </p:cNvPr>
          <p:cNvGrpSpPr>
            <a:grpSpLocks noChangeAspect="1"/>
          </p:cNvGrpSpPr>
          <p:nvPr/>
        </p:nvGrpSpPr>
        <p:grpSpPr>
          <a:xfrm>
            <a:off x="3649589" y="1864094"/>
            <a:ext cx="708282" cy="708939"/>
            <a:chOff x="5273799" y="2606040"/>
            <a:chExt cx="1644396" cy="1645920"/>
          </a:xfrm>
        </p:grpSpPr>
        <p:sp>
          <p:nvSpPr>
            <p:cNvPr id="6" name="AutoShape 13">
              <a:extLst>
                <a:ext uri="{FF2B5EF4-FFF2-40B4-BE49-F238E27FC236}">
                  <a16:creationId xmlns:a16="http://schemas.microsoft.com/office/drawing/2014/main" id="{0E41828E-3955-3D7F-371A-07239ECD684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9950716-C2B6-730B-4CFF-C0ED10634942}"/>
                </a:ext>
              </a:extLst>
            </p:cNvPr>
            <p:cNvGrpSpPr/>
            <p:nvPr/>
          </p:nvGrpSpPr>
          <p:grpSpPr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8" name="Freeform 15">
                <a:extLst>
                  <a:ext uri="{FF2B5EF4-FFF2-40B4-BE49-F238E27FC236}">
                    <a16:creationId xmlns:a16="http://schemas.microsoft.com/office/drawing/2014/main" id="{6A7796F7-6CEF-DADA-CB35-BF5E106C9B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10 w 1384"/>
                  <a:gd name="T1" fmla="*/ 183 h 431"/>
                  <a:gd name="T2" fmla="*/ 0 w 1384"/>
                  <a:gd name="T3" fmla="*/ 10 h 431"/>
                  <a:gd name="T4" fmla="*/ 292 w 1384"/>
                  <a:gd name="T5" fmla="*/ 0 h 431"/>
                  <a:gd name="T6" fmla="*/ 302 w 1384"/>
                  <a:gd name="T7" fmla="*/ 173 h 431"/>
                  <a:gd name="T8" fmla="*/ 662 w 1384"/>
                  <a:gd name="T9" fmla="*/ 173 h 431"/>
                  <a:gd name="T10" fmla="*/ 652 w 1384"/>
                  <a:gd name="T11" fmla="*/ 0 h 431"/>
                  <a:gd name="T12" fmla="*/ 361 w 1384"/>
                  <a:gd name="T13" fmla="*/ 10 h 431"/>
                  <a:gd name="T14" fmla="*/ 371 w 1384"/>
                  <a:gd name="T15" fmla="*/ 183 h 431"/>
                  <a:gd name="T16" fmla="*/ 662 w 1384"/>
                  <a:gd name="T17" fmla="*/ 173 h 431"/>
                  <a:gd name="T18" fmla="*/ 1023 w 1384"/>
                  <a:gd name="T19" fmla="*/ 10 h 431"/>
                  <a:gd name="T20" fmla="*/ 732 w 1384"/>
                  <a:gd name="T21" fmla="*/ 0 h 431"/>
                  <a:gd name="T22" fmla="*/ 722 w 1384"/>
                  <a:gd name="T23" fmla="*/ 173 h 431"/>
                  <a:gd name="T24" fmla="*/ 1013 w 1384"/>
                  <a:gd name="T25" fmla="*/ 183 h 431"/>
                  <a:gd name="T26" fmla="*/ 1384 w 1384"/>
                  <a:gd name="T27" fmla="*/ 173 h 431"/>
                  <a:gd name="T28" fmla="*/ 1374 w 1384"/>
                  <a:gd name="T29" fmla="*/ 0 h 431"/>
                  <a:gd name="T30" fmla="*/ 1082 w 1384"/>
                  <a:gd name="T31" fmla="*/ 10 h 431"/>
                  <a:gd name="T32" fmla="*/ 1092 w 1384"/>
                  <a:gd name="T33" fmla="*/ 183 h 431"/>
                  <a:gd name="T34" fmla="*/ 1384 w 1384"/>
                  <a:gd name="T35" fmla="*/ 173 h 431"/>
                  <a:gd name="T36" fmla="*/ 302 w 1384"/>
                  <a:gd name="T37" fmla="*/ 258 h 431"/>
                  <a:gd name="T38" fmla="*/ 10 w 1384"/>
                  <a:gd name="T39" fmla="*/ 248 h 431"/>
                  <a:gd name="T40" fmla="*/ 0 w 1384"/>
                  <a:gd name="T41" fmla="*/ 421 h 431"/>
                  <a:gd name="T42" fmla="*/ 292 w 1384"/>
                  <a:gd name="T43" fmla="*/ 431 h 431"/>
                  <a:gd name="T44" fmla="*/ 662 w 1384"/>
                  <a:gd name="T45" fmla="*/ 421 h 431"/>
                  <a:gd name="T46" fmla="*/ 652 w 1384"/>
                  <a:gd name="T47" fmla="*/ 248 h 431"/>
                  <a:gd name="T48" fmla="*/ 361 w 1384"/>
                  <a:gd name="T49" fmla="*/ 258 h 431"/>
                  <a:gd name="T50" fmla="*/ 371 w 1384"/>
                  <a:gd name="T51" fmla="*/ 431 h 431"/>
                  <a:gd name="T52" fmla="*/ 662 w 1384"/>
                  <a:gd name="T53" fmla="*/ 421 h 431"/>
                  <a:gd name="T54" fmla="*/ 1023 w 1384"/>
                  <a:gd name="T55" fmla="*/ 258 h 431"/>
                  <a:gd name="T56" fmla="*/ 732 w 1384"/>
                  <a:gd name="T57" fmla="*/ 248 h 431"/>
                  <a:gd name="T58" fmla="*/ 722 w 1384"/>
                  <a:gd name="T59" fmla="*/ 421 h 431"/>
                  <a:gd name="T60" fmla="*/ 1013 w 1384"/>
                  <a:gd name="T61" fmla="*/ 431 h 431"/>
                  <a:gd name="T62" fmla="*/ 1384 w 1384"/>
                  <a:gd name="T63" fmla="*/ 421 h 431"/>
                  <a:gd name="T64" fmla="*/ 1374 w 1384"/>
                  <a:gd name="T65" fmla="*/ 248 h 431"/>
                  <a:gd name="T66" fmla="*/ 1082 w 1384"/>
                  <a:gd name="T67" fmla="*/ 258 h 431"/>
                  <a:gd name="T68" fmla="*/ 1092 w 1384"/>
                  <a:gd name="T69" fmla="*/ 431 h 431"/>
                  <a:gd name="T70" fmla="*/ 1384 w 1384"/>
                  <a:gd name="T71" fmla="*/ 42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9" name="Freeform 16">
                <a:extLst>
                  <a:ext uri="{FF2B5EF4-FFF2-40B4-BE49-F238E27FC236}">
                    <a16:creationId xmlns:a16="http://schemas.microsoft.com/office/drawing/2014/main" id="{FAB9FAE1-4BB1-AEA5-FCB9-D406BCDF49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687 w 1932"/>
                  <a:gd name="T1" fmla="*/ 15 h 1828"/>
                  <a:gd name="T2" fmla="*/ 1735 w 1932"/>
                  <a:gd name="T3" fmla="*/ 587 h 1828"/>
                  <a:gd name="T4" fmla="*/ 1719 w 1932"/>
                  <a:gd name="T5" fmla="*/ 604 h 1828"/>
                  <a:gd name="T6" fmla="*/ 1417 w 1932"/>
                  <a:gd name="T7" fmla="*/ 604 h 1828"/>
                  <a:gd name="T8" fmla="*/ 1401 w 1932"/>
                  <a:gd name="T9" fmla="*/ 587 h 1828"/>
                  <a:gd name="T10" fmla="*/ 1449 w 1932"/>
                  <a:gd name="T11" fmla="*/ 15 h 1828"/>
                  <a:gd name="T12" fmla="*/ 1465 w 1932"/>
                  <a:gd name="T13" fmla="*/ 0 h 1828"/>
                  <a:gd name="T14" fmla="*/ 1671 w 1932"/>
                  <a:gd name="T15" fmla="*/ 0 h 1828"/>
                  <a:gd name="T16" fmla="*/ 1687 w 1932"/>
                  <a:gd name="T17" fmla="*/ 15 h 1828"/>
                  <a:gd name="T18" fmla="*/ 1932 w 1932"/>
                  <a:gd name="T19" fmla="*/ 1706 h 1828"/>
                  <a:gd name="T20" fmla="*/ 1932 w 1932"/>
                  <a:gd name="T21" fmla="*/ 1806 h 1828"/>
                  <a:gd name="T22" fmla="*/ 1910 w 1932"/>
                  <a:gd name="T23" fmla="*/ 1828 h 1828"/>
                  <a:gd name="T24" fmla="*/ 22 w 1932"/>
                  <a:gd name="T25" fmla="*/ 1828 h 1828"/>
                  <a:gd name="T26" fmla="*/ 0 w 1932"/>
                  <a:gd name="T27" fmla="*/ 1806 h 1828"/>
                  <a:gd name="T28" fmla="*/ 0 w 1932"/>
                  <a:gd name="T29" fmla="*/ 1706 h 1828"/>
                  <a:gd name="T30" fmla="*/ 22 w 1932"/>
                  <a:gd name="T31" fmla="*/ 1684 h 1828"/>
                  <a:gd name="T32" fmla="*/ 98 w 1932"/>
                  <a:gd name="T33" fmla="*/ 1684 h 1828"/>
                  <a:gd name="T34" fmla="*/ 98 w 1932"/>
                  <a:gd name="T35" fmla="*/ 1647 h 1828"/>
                  <a:gd name="T36" fmla="*/ 120 w 1932"/>
                  <a:gd name="T37" fmla="*/ 1625 h 1828"/>
                  <a:gd name="T38" fmla="*/ 1812 w 1932"/>
                  <a:gd name="T39" fmla="*/ 1625 h 1828"/>
                  <a:gd name="T40" fmla="*/ 1834 w 1932"/>
                  <a:gd name="T41" fmla="*/ 1647 h 1828"/>
                  <a:gd name="T42" fmla="*/ 1834 w 1932"/>
                  <a:gd name="T43" fmla="*/ 1684 h 1828"/>
                  <a:gd name="T44" fmla="*/ 1910 w 1932"/>
                  <a:gd name="T45" fmla="*/ 1684 h 1828"/>
                  <a:gd name="T46" fmla="*/ 1932 w 1932"/>
                  <a:gd name="T47" fmla="*/ 1706 h 1828"/>
                  <a:gd name="T48" fmla="*/ 1812 w 1932"/>
                  <a:gd name="T49" fmla="*/ 670 h 1828"/>
                  <a:gd name="T50" fmla="*/ 1790 w 1932"/>
                  <a:gd name="T51" fmla="*/ 648 h 1828"/>
                  <a:gd name="T52" fmla="*/ 1286 w 1932"/>
                  <a:gd name="T53" fmla="*/ 648 h 1828"/>
                  <a:gd name="T54" fmla="*/ 713 w 1932"/>
                  <a:gd name="T55" fmla="*/ 459 h 1828"/>
                  <a:gd name="T56" fmla="*/ 693 w 1932"/>
                  <a:gd name="T57" fmla="*/ 462 h 1828"/>
                  <a:gd name="T58" fmla="*/ 684 w 1932"/>
                  <a:gd name="T59" fmla="*/ 480 h 1828"/>
                  <a:gd name="T60" fmla="*/ 684 w 1932"/>
                  <a:gd name="T61" fmla="*/ 638 h 1828"/>
                  <a:gd name="T62" fmla="*/ 147 w 1932"/>
                  <a:gd name="T63" fmla="*/ 459 h 1828"/>
                  <a:gd name="T64" fmla="*/ 127 w 1932"/>
                  <a:gd name="T65" fmla="*/ 462 h 1828"/>
                  <a:gd name="T66" fmla="*/ 118 w 1932"/>
                  <a:gd name="T67" fmla="*/ 480 h 1828"/>
                  <a:gd name="T68" fmla="*/ 118 w 1932"/>
                  <a:gd name="T69" fmla="*/ 1581 h 1828"/>
                  <a:gd name="T70" fmla="*/ 162 w 1932"/>
                  <a:gd name="T71" fmla="*/ 1581 h 1828"/>
                  <a:gd name="T72" fmla="*/ 162 w 1932"/>
                  <a:gd name="T73" fmla="*/ 510 h 1828"/>
                  <a:gd name="T74" fmla="*/ 699 w 1932"/>
                  <a:gd name="T75" fmla="*/ 689 h 1828"/>
                  <a:gd name="T76" fmla="*/ 719 w 1932"/>
                  <a:gd name="T77" fmla="*/ 686 h 1828"/>
                  <a:gd name="T78" fmla="*/ 728 w 1932"/>
                  <a:gd name="T79" fmla="*/ 668 h 1828"/>
                  <a:gd name="T80" fmla="*/ 728 w 1932"/>
                  <a:gd name="T81" fmla="*/ 510 h 1828"/>
                  <a:gd name="T82" fmla="*/ 1275 w 1932"/>
                  <a:gd name="T83" fmla="*/ 691 h 1828"/>
                  <a:gd name="T84" fmla="*/ 1282 w 1932"/>
                  <a:gd name="T85" fmla="*/ 692 h 1828"/>
                  <a:gd name="T86" fmla="*/ 1768 w 1932"/>
                  <a:gd name="T87" fmla="*/ 692 h 1828"/>
                  <a:gd name="T88" fmla="*/ 1768 w 1932"/>
                  <a:gd name="T89" fmla="*/ 1581 h 1828"/>
                  <a:gd name="T90" fmla="*/ 1812 w 1932"/>
                  <a:gd name="T91" fmla="*/ 1581 h 1828"/>
                  <a:gd name="T92" fmla="*/ 1812 w 1932"/>
                  <a:gd name="T93" fmla="*/ 670 h 18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9294366-506B-6106-6ACE-EFDD6CA8091E}"/>
              </a:ext>
            </a:extLst>
          </p:cNvPr>
          <p:cNvGrpSpPr>
            <a:grpSpLocks noChangeAspect="1"/>
          </p:cNvGrpSpPr>
          <p:nvPr/>
        </p:nvGrpSpPr>
        <p:grpSpPr>
          <a:xfrm>
            <a:off x="9459178" y="1866302"/>
            <a:ext cx="708282" cy="708939"/>
            <a:chOff x="5273799" y="2606040"/>
            <a:chExt cx="1644396" cy="16459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173CCD61-DCE7-2A7A-612E-761247E75CB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312CADD9-5B8A-B22F-9B3C-F44FA84C907A}"/>
                </a:ext>
              </a:extLst>
            </p:cNvPr>
            <p:cNvGrpSpPr/>
            <p:nvPr/>
          </p:nvGrpSpPr>
          <p:grpSpPr>
            <a:xfrm>
              <a:off x="5442201" y="2765298"/>
              <a:ext cx="1306068" cy="1315974"/>
              <a:chOff x="5442201" y="2765298"/>
              <a:chExt cx="1306068" cy="1315974"/>
            </a:xfrm>
          </p:grpSpPr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58A0C7F7-C378-281D-F0C9-E16999A06A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2201" y="2765298"/>
                <a:ext cx="1306068" cy="1315974"/>
              </a:xfrm>
              <a:custGeom>
                <a:avLst/>
                <a:gdLst>
                  <a:gd name="T0" fmla="*/ 1807 w 1830"/>
                  <a:gd name="T1" fmla="*/ 1666 h 1842"/>
                  <a:gd name="T2" fmla="*/ 1708 w 1830"/>
                  <a:gd name="T3" fmla="*/ 1666 h 1842"/>
                  <a:gd name="T4" fmla="*/ 1708 w 1830"/>
                  <a:gd name="T5" fmla="*/ 1616 h 1842"/>
                  <a:gd name="T6" fmla="*/ 1686 w 1830"/>
                  <a:gd name="T7" fmla="*/ 1594 h 1842"/>
                  <a:gd name="T8" fmla="*/ 144 w 1830"/>
                  <a:gd name="T9" fmla="*/ 1594 h 1842"/>
                  <a:gd name="T10" fmla="*/ 122 w 1830"/>
                  <a:gd name="T11" fmla="*/ 1616 h 1842"/>
                  <a:gd name="T12" fmla="*/ 122 w 1830"/>
                  <a:gd name="T13" fmla="*/ 1666 h 1842"/>
                  <a:gd name="T14" fmla="*/ 23 w 1830"/>
                  <a:gd name="T15" fmla="*/ 1666 h 1842"/>
                  <a:gd name="T16" fmla="*/ 1 w 1830"/>
                  <a:gd name="T17" fmla="*/ 1688 h 1842"/>
                  <a:gd name="T18" fmla="*/ 1 w 1830"/>
                  <a:gd name="T19" fmla="*/ 1820 h 1842"/>
                  <a:gd name="T20" fmla="*/ 23 w 1830"/>
                  <a:gd name="T21" fmla="*/ 1842 h 1842"/>
                  <a:gd name="T22" fmla="*/ 1807 w 1830"/>
                  <a:gd name="T23" fmla="*/ 1842 h 1842"/>
                  <a:gd name="T24" fmla="*/ 1829 w 1830"/>
                  <a:gd name="T25" fmla="*/ 1820 h 1842"/>
                  <a:gd name="T26" fmla="*/ 1829 w 1830"/>
                  <a:gd name="T27" fmla="*/ 1688 h 1842"/>
                  <a:gd name="T28" fmla="*/ 1807 w 1830"/>
                  <a:gd name="T29" fmla="*/ 1666 h 1842"/>
                  <a:gd name="T30" fmla="*/ 1818 w 1830"/>
                  <a:gd name="T31" fmla="*/ 441 h 1842"/>
                  <a:gd name="T32" fmla="*/ 925 w 1830"/>
                  <a:gd name="T33" fmla="*/ 3 h 1842"/>
                  <a:gd name="T34" fmla="*/ 905 w 1830"/>
                  <a:gd name="T35" fmla="*/ 3 h 1842"/>
                  <a:gd name="T36" fmla="*/ 12 w 1830"/>
                  <a:gd name="T37" fmla="*/ 441 h 1842"/>
                  <a:gd name="T38" fmla="*/ 0 w 1830"/>
                  <a:gd name="T39" fmla="*/ 461 h 1842"/>
                  <a:gd name="T40" fmla="*/ 0 w 1830"/>
                  <a:gd name="T41" fmla="*/ 533 h 1842"/>
                  <a:gd name="T42" fmla="*/ 22 w 1830"/>
                  <a:gd name="T43" fmla="*/ 555 h 1842"/>
                  <a:gd name="T44" fmla="*/ 169 w 1830"/>
                  <a:gd name="T45" fmla="*/ 555 h 1842"/>
                  <a:gd name="T46" fmla="*/ 169 w 1830"/>
                  <a:gd name="T47" fmla="*/ 641 h 1842"/>
                  <a:gd name="T48" fmla="*/ 191 w 1830"/>
                  <a:gd name="T49" fmla="*/ 663 h 1842"/>
                  <a:gd name="T50" fmla="*/ 1639 w 1830"/>
                  <a:gd name="T51" fmla="*/ 663 h 1842"/>
                  <a:gd name="T52" fmla="*/ 1661 w 1830"/>
                  <a:gd name="T53" fmla="*/ 641 h 1842"/>
                  <a:gd name="T54" fmla="*/ 1661 w 1830"/>
                  <a:gd name="T55" fmla="*/ 555 h 1842"/>
                  <a:gd name="T56" fmla="*/ 1808 w 1830"/>
                  <a:gd name="T57" fmla="*/ 555 h 1842"/>
                  <a:gd name="T58" fmla="*/ 1830 w 1830"/>
                  <a:gd name="T59" fmla="*/ 533 h 1842"/>
                  <a:gd name="T60" fmla="*/ 1830 w 1830"/>
                  <a:gd name="T61" fmla="*/ 461 h 1842"/>
                  <a:gd name="T62" fmla="*/ 1818 w 1830"/>
                  <a:gd name="T63" fmla="*/ 441 h 1842"/>
                  <a:gd name="T64" fmla="*/ 1617 w 1830"/>
                  <a:gd name="T65" fmla="*/ 619 h 1842"/>
                  <a:gd name="T66" fmla="*/ 213 w 1830"/>
                  <a:gd name="T67" fmla="*/ 619 h 1842"/>
                  <a:gd name="T68" fmla="*/ 213 w 1830"/>
                  <a:gd name="T69" fmla="*/ 555 h 1842"/>
                  <a:gd name="T70" fmla="*/ 1617 w 1830"/>
                  <a:gd name="T71" fmla="*/ 555 h 1842"/>
                  <a:gd name="T72" fmla="*/ 1617 w 1830"/>
                  <a:gd name="T73" fmla="*/ 619 h 1842"/>
                  <a:gd name="T74" fmla="*/ 1786 w 1830"/>
                  <a:gd name="T75" fmla="*/ 511 h 1842"/>
                  <a:gd name="T76" fmla="*/ 1661 w 1830"/>
                  <a:gd name="T77" fmla="*/ 511 h 1842"/>
                  <a:gd name="T78" fmla="*/ 1617 w 1830"/>
                  <a:gd name="T79" fmla="*/ 511 h 1842"/>
                  <a:gd name="T80" fmla="*/ 213 w 1830"/>
                  <a:gd name="T81" fmla="*/ 511 h 1842"/>
                  <a:gd name="T82" fmla="*/ 169 w 1830"/>
                  <a:gd name="T83" fmla="*/ 511 h 1842"/>
                  <a:gd name="T84" fmla="*/ 44 w 1830"/>
                  <a:gd name="T85" fmla="*/ 511 h 1842"/>
                  <a:gd name="T86" fmla="*/ 44 w 1830"/>
                  <a:gd name="T87" fmla="*/ 474 h 1842"/>
                  <a:gd name="T88" fmla="*/ 915 w 1830"/>
                  <a:gd name="T89" fmla="*/ 47 h 1842"/>
                  <a:gd name="T90" fmla="*/ 1786 w 1830"/>
                  <a:gd name="T91" fmla="*/ 474 h 1842"/>
                  <a:gd name="T92" fmla="*/ 1786 w 1830"/>
                  <a:gd name="T93" fmla="*/ 511 h 1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30" h="1842">
                    <a:moveTo>
                      <a:pt x="1807" y="1666"/>
                    </a:moveTo>
                    <a:cubicBezTo>
                      <a:pt x="1708" y="1666"/>
                      <a:pt x="1708" y="1666"/>
                      <a:pt x="1708" y="1666"/>
                    </a:cubicBezTo>
                    <a:cubicBezTo>
                      <a:pt x="1708" y="1616"/>
                      <a:pt x="1708" y="1616"/>
                      <a:pt x="1708" y="1616"/>
                    </a:cubicBezTo>
                    <a:cubicBezTo>
                      <a:pt x="1708" y="1603"/>
                      <a:pt x="1699" y="1594"/>
                      <a:pt x="1686" y="1594"/>
                    </a:cubicBezTo>
                    <a:cubicBezTo>
                      <a:pt x="144" y="1594"/>
                      <a:pt x="144" y="1594"/>
                      <a:pt x="144" y="1594"/>
                    </a:cubicBezTo>
                    <a:cubicBezTo>
                      <a:pt x="131" y="1594"/>
                      <a:pt x="122" y="1603"/>
                      <a:pt x="122" y="1616"/>
                    </a:cubicBezTo>
                    <a:cubicBezTo>
                      <a:pt x="122" y="1666"/>
                      <a:pt x="122" y="1666"/>
                      <a:pt x="122" y="1666"/>
                    </a:cubicBezTo>
                    <a:cubicBezTo>
                      <a:pt x="23" y="1666"/>
                      <a:pt x="23" y="1666"/>
                      <a:pt x="23" y="1666"/>
                    </a:cubicBezTo>
                    <a:cubicBezTo>
                      <a:pt x="11" y="1666"/>
                      <a:pt x="1" y="1675"/>
                      <a:pt x="1" y="1688"/>
                    </a:cubicBezTo>
                    <a:cubicBezTo>
                      <a:pt x="1" y="1820"/>
                      <a:pt x="1" y="1820"/>
                      <a:pt x="1" y="1820"/>
                    </a:cubicBezTo>
                    <a:cubicBezTo>
                      <a:pt x="1" y="1832"/>
                      <a:pt x="11" y="1842"/>
                      <a:pt x="23" y="1842"/>
                    </a:cubicBezTo>
                    <a:cubicBezTo>
                      <a:pt x="1807" y="1842"/>
                      <a:pt x="1807" y="1842"/>
                      <a:pt x="1807" y="1842"/>
                    </a:cubicBezTo>
                    <a:cubicBezTo>
                      <a:pt x="1819" y="1842"/>
                      <a:pt x="1829" y="1832"/>
                      <a:pt x="1829" y="1820"/>
                    </a:cubicBezTo>
                    <a:cubicBezTo>
                      <a:pt x="1829" y="1688"/>
                      <a:pt x="1829" y="1688"/>
                      <a:pt x="1829" y="1688"/>
                    </a:cubicBezTo>
                    <a:cubicBezTo>
                      <a:pt x="1829" y="1675"/>
                      <a:pt x="1819" y="1666"/>
                      <a:pt x="1807" y="1666"/>
                    </a:cubicBezTo>
                    <a:close/>
                    <a:moveTo>
                      <a:pt x="1818" y="441"/>
                    </a:moveTo>
                    <a:cubicBezTo>
                      <a:pt x="925" y="3"/>
                      <a:pt x="925" y="3"/>
                      <a:pt x="925" y="3"/>
                    </a:cubicBezTo>
                    <a:cubicBezTo>
                      <a:pt x="919" y="0"/>
                      <a:pt x="911" y="0"/>
                      <a:pt x="905" y="3"/>
                    </a:cubicBezTo>
                    <a:cubicBezTo>
                      <a:pt x="12" y="441"/>
                      <a:pt x="12" y="441"/>
                      <a:pt x="12" y="441"/>
                    </a:cubicBezTo>
                    <a:cubicBezTo>
                      <a:pt x="5" y="445"/>
                      <a:pt x="0" y="452"/>
                      <a:pt x="0" y="461"/>
                    </a:cubicBezTo>
                    <a:cubicBezTo>
                      <a:pt x="0" y="533"/>
                      <a:pt x="0" y="533"/>
                      <a:pt x="0" y="533"/>
                    </a:cubicBezTo>
                    <a:cubicBezTo>
                      <a:pt x="0" y="545"/>
                      <a:pt x="10" y="555"/>
                      <a:pt x="22" y="555"/>
                    </a:cubicBezTo>
                    <a:cubicBezTo>
                      <a:pt x="169" y="555"/>
                      <a:pt x="169" y="555"/>
                      <a:pt x="169" y="555"/>
                    </a:cubicBezTo>
                    <a:cubicBezTo>
                      <a:pt x="169" y="641"/>
                      <a:pt x="169" y="641"/>
                      <a:pt x="169" y="641"/>
                    </a:cubicBezTo>
                    <a:cubicBezTo>
                      <a:pt x="169" y="654"/>
                      <a:pt x="179" y="663"/>
                      <a:pt x="191" y="663"/>
                    </a:cubicBezTo>
                    <a:cubicBezTo>
                      <a:pt x="1639" y="663"/>
                      <a:pt x="1639" y="663"/>
                      <a:pt x="1639" y="663"/>
                    </a:cubicBezTo>
                    <a:cubicBezTo>
                      <a:pt x="1651" y="663"/>
                      <a:pt x="1661" y="654"/>
                      <a:pt x="1661" y="641"/>
                    </a:cubicBezTo>
                    <a:cubicBezTo>
                      <a:pt x="1661" y="555"/>
                      <a:pt x="1661" y="555"/>
                      <a:pt x="1661" y="555"/>
                    </a:cubicBezTo>
                    <a:cubicBezTo>
                      <a:pt x="1808" y="555"/>
                      <a:pt x="1808" y="555"/>
                      <a:pt x="1808" y="555"/>
                    </a:cubicBezTo>
                    <a:cubicBezTo>
                      <a:pt x="1820" y="555"/>
                      <a:pt x="1830" y="545"/>
                      <a:pt x="1830" y="533"/>
                    </a:cubicBezTo>
                    <a:cubicBezTo>
                      <a:pt x="1830" y="461"/>
                      <a:pt x="1830" y="461"/>
                      <a:pt x="1830" y="461"/>
                    </a:cubicBezTo>
                    <a:cubicBezTo>
                      <a:pt x="1830" y="452"/>
                      <a:pt x="1825" y="445"/>
                      <a:pt x="1818" y="441"/>
                    </a:cubicBezTo>
                    <a:close/>
                    <a:moveTo>
                      <a:pt x="1617" y="619"/>
                    </a:moveTo>
                    <a:cubicBezTo>
                      <a:pt x="213" y="619"/>
                      <a:pt x="213" y="619"/>
                      <a:pt x="213" y="619"/>
                    </a:cubicBezTo>
                    <a:cubicBezTo>
                      <a:pt x="213" y="555"/>
                      <a:pt x="213" y="555"/>
                      <a:pt x="213" y="555"/>
                    </a:cubicBezTo>
                    <a:cubicBezTo>
                      <a:pt x="1617" y="555"/>
                      <a:pt x="1617" y="555"/>
                      <a:pt x="1617" y="555"/>
                    </a:cubicBezTo>
                    <a:lnTo>
                      <a:pt x="1617" y="619"/>
                    </a:lnTo>
                    <a:close/>
                    <a:moveTo>
                      <a:pt x="1786" y="511"/>
                    </a:moveTo>
                    <a:cubicBezTo>
                      <a:pt x="1661" y="511"/>
                      <a:pt x="1661" y="511"/>
                      <a:pt x="1661" y="511"/>
                    </a:cubicBezTo>
                    <a:cubicBezTo>
                      <a:pt x="1617" y="511"/>
                      <a:pt x="1617" y="511"/>
                      <a:pt x="1617" y="511"/>
                    </a:cubicBezTo>
                    <a:cubicBezTo>
                      <a:pt x="213" y="511"/>
                      <a:pt x="213" y="511"/>
                      <a:pt x="213" y="511"/>
                    </a:cubicBezTo>
                    <a:cubicBezTo>
                      <a:pt x="169" y="511"/>
                      <a:pt x="169" y="511"/>
                      <a:pt x="169" y="511"/>
                    </a:cubicBezTo>
                    <a:cubicBezTo>
                      <a:pt x="44" y="511"/>
                      <a:pt x="44" y="511"/>
                      <a:pt x="44" y="511"/>
                    </a:cubicBezTo>
                    <a:cubicBezTo>
                      <a:pt x="44" y="474"/>
                      <a:pt x="44" y="474"/>
                      <a:pt x="44" y="474"/>
                    </a:cubicBezTo>
                    <a:cubicBezTo>
                      <a:pt x="915" y="47"/>
                      <a:pt x="915" y="47"/>
                      <a:pt x="915" y="47"/>
                    </a:cubicBezTo>
                    <a:cubicBezTo>
                      <a:pt x="1786" y="474"/>
                      <a:pt x="1786" y="474"/>
                      <a:pt x="1786" y="474"/>
                    </a:cubicBezTo>
                    <a:lnTo>
                      <a:pt x="1786" y="51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E1B72FF7-DA44-6418-19CE-4F6F4CD5BB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13651" y="2902458"/>
                <a:ext cx="963549" cy="958596"/>
              </a:xfrm>
              <a:custGeom>
                <a:avLst/>
                <a:gdLst>
                  <a:gd name="T0" fmla="*/ 783 w 1350"/>
                  <a:gd name="T1" fmla="*/ 108 h 1342"/>
                  <a:gd name="T2" fmla="*/ 675 w 1350"/>
                  <a:gd name="T3" fmla="*/ 216 h 1342"/>
                  <a:gd name="T4" fmla="*/ 567 w 1350"/>
                  <a:gd name="T5" fmla="*/ 108 h 1342"/>
                  <a:gd name="T6" fmla="*/ 675 w 1350"/>
                  <a:gd name="T7" fmla="*/ 0 h 1342"/>
                  <a:gd name="T8" fmla="*/ 783 w 1350"/>
                  <a:gd name="T9" fmla="*/ 108 h 1342"/>
                  <a:gd name="T10" fmla="*/ 174 w 1350"/>
                  <a:gd name="T11" fmla="*/ 540 h 1342"/>
                  <a:gd name="T12" fmla="*/ 164 w 1350"/>
                  <a:gd name="T13" fmla="*/ 531 h 1342"/>
                  <a:gd name="T14" fmla="*/ 35 w 1350"/>
                  <a:gd name="T15" fmla="*/ 531 h 1342"/>
                  <a:gd name="T16" fmla="*/ 25 w 1350"/>
                  <a:gd name="T17" fmla="*/ 540 h 1342"/>
                  <a:gd name="T18" fmla="*/ 0 w 1350"/>
                  <a:gd name="T19" fmla="*/ 1332 h 1342"/>
                  <a:gd name="T20" fmla="*/ 10 w 1350"/>
                  <a:gd name="T21" fmla="*/ 1342 h 1342"/>
                  <a:gd name="T22" fmla="*/ 188 w 1350"/>
                  <a:gd name="T23" fmla="*/ 1342 h 1342"/>
                  <a:gd name="T24" fmla="*/ 198 w 1350"/>
                  <a:gd name="T25" fmla="*/ 1332 h 1342"/>
                  <a:gd name="T26" fmla="*/ 174 w 1350"/>
                  <a:gd name="T27" fmla="*/ 540 h 1342"/>
                  <a:gd name="T28" fmla="*/ 557 w 1350"/>
                  <a:gd name="T29" fmla="*/ 540 h 1342"/>
                  <a:gd name="T30" fmla="*/ 548 w 1350"/>
                  <a:gd name="T31" fmla="*/ 531 h 1342"/>
                  <a:gd name="T32" fmla="*/ 418 w 1350"/>
                  <a:gd name="T33" fmla="*/ 531 h 1342"/>
                  <a:gd name="T34" fmla="*/ 409 w 1350"/>
                  <a:gd name="T35" fmla="*/ 540 h 1342"/>
                  <a:gd name="T36" fmla="*/ 384 w 1350"/>
                  <a:gd name="T37" fmla="*/ 1332 h 1342"/>
                  <a:gd name="T38" fmla="*/ 394 w 1350"/>
                  <a:gd name="T39" fmla="*/ 1342 h 1342"/>
                  <a:gd name="T40" fmla="*/ 572 w 1350"/>
                  <a:gd name="T41" fmla="*/ 1342 h 1342"/>
                  <a:gd name="T42" fmla="*/ 582 w 1350"/>
                  <a:gd name="T43" fmla="*/ 1332 h 1342"/>
                  <a:gd name="T44" fmla="*/ 557 w 1350"/>
                  <a:gd name="T45" fmla="*/ 540 h 1342"/>
                  <a:gd name="T46" fmla="*/ 941 w 1350"/>
                  <a:gd name="T47" fmla="*/ 540 h 1342"/>
                  <a:gd name="T48" fmla="*/ 932 w 1350"/>
                  <a:gd name="T49" fmla="*/ 531 h 1342"/>
                  <a:gd name="T50" fmla="*/ 802 w 1350"/>
                  <a:gd name="T51" fmla="*/ 531 h 1342"/>
                  <a:gd name="T52" fmla="*/ 793 w 1350"/>
                  <a:gd name="T53" fmla="*/ 540 h 1342"/>
                  <a:gd name="T54" fmla="*/ 768 w 1350"/>
                  <a:gd name="T55" fmla="*/ 1332 h 1342"/>
                  <a:gd name="T56" fmla="*/ 778 w 1350"/>
                  <a:gd name="T57" fmla="*/ 1342 h 1342"/>
                  <a:gd name="T58" fmla="*/ 956 w 1350"/>
                  <a:gd name="T59" fmla="*/ 1342 h 1342"/>
                  <a:gd name="T60" fmla="*/ 966 w 1350"/>
                  <a:gd name="T61" fmla="*/ 1332 h 1342"/>
                  <a:gd name="T62" fmla="*/ 941 w 1350"/>
                  <a:gd name="T63" fmla="*/ 540 h 1342"/>
                  <a:gd name="T64" fmla="*/ 1325 w 1350"/>
                  <a:gd name="T65" fmla="*/ 540 h 1342"/>
                  <a:gd name="T66" fmla="*/ 1315 w 1350"/>
                  <a:gd name="T67" fmla="*/ 531 h 1342"/>
                  <a:gd name="T68" fmla="*/ 1186 w 1350"/>
                  <a:gd name="T69" fmla="*/ 531 h 1342"/>
                  <a:gd name="T70" fmla="*/ 1176 w 1350"/>
                  <a:gd name="T71" fmla="*/ 540 h 1342"/>
                  <a:gd name="T72" fmla="*/ 1152 w 1350"/>
                  <a:gd name="T73" fmla="*/ 1332 h 1342"/>
                  <a:gd name="T74" fmla="*/ 1162 w 1350"/>
                  <a:gd name="T75" fmla="*/ 1342 h 1342"/>
                  <a:gd name="T76" fmla="*/ 1340 w 1350"/>
                  <a:gd name="T77" fmla="*/ 1342 h 1342"/>
                  <a:gd name="T78" fmla="*/ 1350 w 1350"/>
                  <a:gd name="T79" fmla="*/ 1332 h 1342"/>
                  <a:gd name="T80" fmla="*/ 1325 w 1350"/>
                  <a:gd name="T81" fmla="*/ 540 h 1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50" h="1342">
                    <a:moveTo>
                      <a:pt x="783" y="108"/>
                    </a:moveTo>
                    <a:cubicBezTo>
                      <a:pt x="783" y="167"/>
                      <a:pt x="735" y="216"/>
                      <a:pt x="675" y="216"/>
                    </a:cubicBezTo>
                    <a:cubicBezTo>
                      <a:pt x="615" y="216"/>
                      <a:pt x="567" y="167"/>
                      <a:pt x="567" y="108"/>
                    </a:cubicBezTo>
                    <a:cubicBezTo>
                      <a:pt x="567" y="48"/>
                      <a:pt x="615" y="0"/>
                      <a:pt x="675" y="0"/>
                    </a:cubicBezTo>
                    <a:cubicBezTo>
                      <a:pt x="735" y="0"/>
                      <a:pt x="783" y="48"/>
                      <a:pt x="783" y="108"/>
                    </a:cubicBezTo>
                    <a:close/>
                    <a:moveTo>
                      <a:pt x="174" y="540"/>
                    </a:moveTo>
                    <a:cubicBezTo>
                      <a:pt x="174" y="535"/>
                      <a:pt x="169" y="531"/>
                      <a:pt x="164" y="531"/>
                    </a:cubicBezTo>
                    <a:cubicBezTo>
                      <a:pt x="35" y="531"/>
                      <a:pt x="35" y="531"/>
                      <a:pt x="35" y="531"/>
                    </a:cubicBezTo>
                    <a:cubicBezTo>
                      <a:pt x="29" y="531"/>
                      <a:pt x="25" y="535"/>
                      <a:pt x="25" y="540"/>
                    </a:cubicBezTo>
                    <a:cubicBezTo>
                      <a:pt x="0" y="1332"/>
                      <a:pt x="0" y="1332"/>
                      <a:pt x="0" y="1332"/>
                    </a:cubicBezTo>
                    <a:cubicBezTo>
                      <a:pt x="0" y="1337"/>
                      <a:pt x="5" y="1342"/>
                      <a:pt x="10" y="1342"/>
                    </a:cubicBezTo>
                    <a:cubicBezTo>
                      <a:pt x="188" y="1342"/>
                      <a:pt x="188" y="1342"/>
                      <a:pt x="188" y="1342"/>
                    </a:cubicBezTo>
                    <a:cubicBezTo>
                      <a:pt x="194" y="1342"/>
                      <a:pt x="198" y="1337"/>
                      <a:pt x="198" y="1332"/>
                    </a:cubicBezTo>
                    <a:lnTo>
                      <a:pt x="174" y="540"/>
                    </a:lnTo>
                    <a:close/>
                    <a:moveTo>
                      <a:pt x="557" y="540"/>
                    </a:moveTo>
                    <a:cubicBezTo>
                      <a:pt x="557" y="535"/>
                      <a:pt x="553" y="531"/>
                      <a:pt x="548" y="531"/>
                    </a:cubicBezTo>
                    <a:cubicBezTo>
                      <a:pt x="418" y="531"/>
                      <a:pt x="418" y="531"/>
                      <a:pt x="418" y="531"/>
                    </a:cubicBezTo>
                    <a:cubicBezTo>
                      <a:pt x="413" y="531"/>
                      <a:pt x="409" y="535"/>
                      <a:pt x="409" y="540"/>
                    </a:cubicBezTo>
                    <a:cubicBezTo>
                      <a:pt x="384" y="1332"/>
                      <a:pt x="384" y="1332"/>
                      <a:pt x="384" y="1332"/>
                    </a:cubicBezTo>
                    <a:cubicBezTo>
                      <a:pt x="384" y="1337"/>
                      <a:pt x="389" y="1342"/>
                      <a:pt x="394" y="1342"/>
                    </a:cubicBezTo>
                    <a:cubicBezTo>
                      <a:pt x="572" y="1342"/>
                      <a:pt x="572" y="1342"/>
                      <a:pt x="572" y="1342"/>
                    </a:cubicBezTo>
                    <a:cubicBezTo>
                      <a:pt x="578" y="1342"/>
                      <a:pt x="582" y="1337"/>
                      <a:pt x="582" y="1332"/>
                    </a:cubicBezTo>
                    <a:lnTo>
                      <a:pt x="557" y="540"/>
                    </a:lnTo>
                    <a:close/>
                    <a:moveTo>
                      <a:pt x="941" y="540"/>
                    </a:moveTo>
                    <a:cubicBezTo>
                      <a:pt x="941" y="535"/>
                      <a:pt x="937" y="531"/>
                      <a:pt x="932" y="531"/>
                    </a:cubicBezTo>
                    <a:cubicBezTo>
                      <a:pt x="802" y="531"/>
                      <a:pt x="802" y="531"/>
                      <a:pt x="802" y="531"/>
                    </a:cubicBezTo>
                    <a:cubicBezTo>
                      <a:pt x="797" y="531"/>
                      <a:pt x="793" y="535"/>
                      <a:pt x="793" y="540"/>
                    </a:cubicBezTo>
                    <a:cubicBezTo>
                      <a:pt x="768" y="1332"/>
                      <a:pt x="768" y="1332"/>
                      <a:pt x="768" y="1332"/>
                    </a:cubicBezTo>
                    <a:cubicBezTo>
                      <a:pt x="768" y="1337"/>
                      <a:pt x="772" y="1342"/>
                      <a:pt x="778" y="1342"/>
                    </a:cubicBezTo>
                    <a:cubicBezTo>
                      <a:pt x="956" y="1342"/>
                      <a:pt x="956" y="1342"/>
                      <a:pt x="956" y="1342"/>
                    </a:cubicBezTo>
                    <a:cubicBezTo>
                      <a:pt x="961" y="1342"/>
                      <a:pt x="966" y="1337"/>
                      <a:pt x="966" y="1332"/>
                    </a:cubicBezTo>
                    <a:lnTo>
                      <a:pt x="941" y="540"/>
                    </a:lnTo>
                    <a:close/>
                    <a:moveTo>
                      <a:pt x="1325" y="540"/>
                    </a:moveTo>
                    <a:cubicBezTo>
                      <a:pt x="1325" y="535"/>
                      <a:pt x="1321" y="531"/>
                      <a:pt x="1315" y="531"/>
                    </a:cubicBezTo>
                    <a:cubicBezTo>
                      <a:pt x="1186" y="531"/>
                      <a:pt x="1186" y="531"/>
                      <a:pt x="1186" y="531"/>
                    </a:cubicBezTo>
                    <a:cubicBezTo>
                      <a:pt x="1181" y="531"/>
                      <a:pt x="1176" y="535"/>
                      <a:pt x="1176" y="540"/>
                    </a:cubicBezTo>
                    <a:cubicBezTo>
                      <a:pt x="1152" y="1332"/>
                      <a:pt x="1152" y="1332"/>
                      <a:pt x="1152" y="1332"/>
                    </a:cubicBezTo>
                    <a:cubicBezTo>
                      <a:pt x="1152" y="1337"/>
                      <a:pt x="1156" y="1342"/>
                      <a:pt x="1162" y="1342"/>
                    </a:cubicBezTo>
                    <a:cubicBezTo>
                      <a:pt x="1340" y="1342"/>
                      <a:pt x="1340" y="1342"/>
                      <a:pt x="1340" y="1342"/>
                    </a:cubicBezTo>
                    <a:cubicBezTo>
                      <a:pt x="1345" y="1342"/>
                      <a:pt x="1350" y="1337"/>
                      <a:pt x="1350" y="1332"/>
                    </a:cubicBezTo>
                    <a:lnTo>
                      <a:pt x="1325" y="54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1301298-E5FE-BA43-C041-2132B6F697C8}"/>
              </a:ext>
            </a:extLst>
          </p:cNvPr>
          <p:cNvCxnSpPr>
            <a:cxnSpLocks/>
          </p:cNvCxnSpPr>
          <p:nvPr/>
        </p:nvCxnSpPr>
        <p:spPr>
          <a:xfrm>
            <a:off x="7624010" y="1376857"/>
            <a:ext cx="0" cy="4809995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D1375DF2-5329-FDAF-0BC6-9549AE64BBFE}"/>
              </a:ext>
            </a:extLst>
          </p:cNvPr>
          <p:cNvSpPr/>
          <p:nvPr/>
        </p:nvSpPr>
        <p:spPr>
          <a:xfrm>
            <a:off x="2040869" y="3067076"/>
            <a:ext cx="3895885" cy="107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2"/>
                </a:solidFill>
              </a:rPr>
              <a:t>Maximize expected profi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C9A7CE9-8EC4-A72F-7117-5F6A30DA01E6}"/>
              </a:ext>
            </a:extLst>
          </p:cNvPr>
          <p:cNvSpPr/>
          <p:nvPr/>
        </p:nvSpPr>
        <p:spPr>
          <a:xfrm>
            <a:off x="8257957" y="3895020"/>
            <a:ext cx="3110722" cy="107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2"/>
                </a:solidFill>
              </a:rPr>
              <a:t>Maintain industry production and profitabilit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F5DFD6B-9856-32C7-690C-C4ECA3657D18}"/>
              </a:ext>
            </a:extLst>
          </p:cNvPr>
          <p:cNvSpPr/>
          <p:nvPr/>
        </p:nvSpPr>
        <p:spPr>
          <a:xfrm>
            <a:off x="8257957" y="2835774"/>
            <a:ext cx="3110722" cy="939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2"/>
                </a:solidFill>
              </a:rPr>
              <a:t>Maximize clean energy generat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414242E-077B-79A3-9643-969DDA178247}"/>
              </a:ext>
            </a:extLst>
          </p:cNvPr>
          <p:cNvSpPr/>
          <p:nvPr/>
        </p:nvSpPr>
        <p:spPr>
          <a:xfrm>
            <a:off x="2040869" y="3655759"/>
            <a:ext cx="3895885" cy="107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Profit = Revenues - Costs</a:t>
            </a:r>
          </a:p>
        </p:txBody>
      </p:sp>
      <p:sp>
        <p:nvSpPr>
          <p:cNvPr id="45" name="Speech Bubble: Rectangle 44">
            <a:extLst>
              <a:ext uri="{FF2B5EF4-FFF2-40B4-BE49-F238E27FC236}">
                <a16:creationId xmlns:a16="http://schemas.microsoft.com/office/drawing/2014/main" id="{8F195C19-64B9-7A50-ED01-B7CE5989017A}"/>
              </a:ext>
            </a:extLst>
          </p:cNvPr>
          <p:cNvSpPr/>
          <p:nvPr/>
        </p:nvSpPr>
        <p:spPr>
          <a:xfrm>
            <a:off x="1737488" y="4792033"/>
            <a:ext cx="3895886" cy="1188698"/>
          </a:xfrm>
          <a:prstGeom prst="wedgeRectCallout">
            <a:avLst>
              <a:gd name="adj1" fmla="val -19578"/>
              <a:gd name="adj2" fmla="val -78379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dirty="0" err="1">
                <a:solidFill>
                  <a:schemeClr val="tx1"/>
                </a:solidFill>
              </a:rPr>
              <a:t>Decisions</a:t>
            </a:r>
            <a:r>
              <a:rPr lang="es-ES" sz="1600" dirty="0">
                <a:solidFill>
                  <a:schemeClr val="tx1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1"/>
                </a:solidFill>
              </a:rPr>
              <a:t>Virgin</a:t>
            </a:r>
            <a:r>
              <a:rPr lang="es-ES" sz="1600" dirty="0">
                <a:solidFill>
                  <a:schemeClr val="tx1"/>
                </a:solidFill>
              </a:rPr>
              <a:t> Material </a:t>
            </a:r>
            <a:r>
              <a:rPr lang="es-ES" sz="1600" dirty="0" err="1">
                <a:solidFill>
                  <a:schemeClr val="tx1"/>
                </a:solidFill>
              </a:rPr>
              <a:t>purchases</a:t>
            </a:r>
            <a:endParaRPr lang="es-ES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tx1"/>
                </a:solidFill>
              </a:rPr>
              <a:t>Investment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decisions</a:t>
            </a:r>
            <a:r>
              <a:rPr lang="es-ES" sz="1600" dirty="0">
                <a:solidFill>
                  <a:schemeClr val="tx1"/>
                </a:solidFill>
              </a:rPr>
              <a:t> (Y/N + </a:t>
            </a:r>
            <a:r>
              <a:rPr lang="es-ES" sz="1600" dirty="0" err="1">
                <a:solidFill>
                  <a:schemeClr val="tx1"/>
                </a:solidFill>
              </a:rPr>
              <a:t>quantity</a:t>
            </a:r>
            <a:r>
              <a:rPr lang="es-ES" sz="16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46" name="Speech Bubble: Rectangle 45">
            <a:extLst>
              <a:ext uri="{FF2B5EF4-FFF2-40B4-BE49-F238E27FC236}">
                <a16:creationId xmlns:a16="http://schemas.microsoft.com/office/drawing/2014/main" id="{306ED0F6-3C00-5F5F-912D-678E077ED696}"/>
              </a:ext>
            </a:extLst>
          </p:cNvPr>
          <p:cNvSpPr/>
          <p:nvPr/>
        </p:nvSpPr>
        <p:spPr>
          <a:xfrm>
            <a:off x="8160674" y="5632333"/>
            <a:ext cx="3304633" cy="696795"/>
          </a:xfrm>
          <a:prstGeom prst="wedgeRectCallout">
            <a:avLst>
              <a:gd name="adj1" fmla="val -19578"/>
              <a:gd name="adj2" fmla="val -78379"/>
            </a:avLst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600" dirty="0" err="1">
                <a:solidFill>
                  <a:schemeClr val="tx1"/>
                </a:solidFill>
              </a:rPr>
              <a:t>Decisions</a:t>
            </a:r>
            <a:r>
              <a:rPr lang="es-ES" sz="1600" dirty="0">
                <a:solidFill>
                  <a:schemeClr val="tx1"/>
                </a:solidFill>
              </a:rPr>
              <a:t> </a:t>
            </a:r>
            <a:r>
              <a:rPr lang="es-ES" sz="1600" dirty="0" err="1">
                <a:solidFill>
                  <a:schemeClr val="tx1"/>
                </a:solidFill>
              </a:rPr>
              <a:t>aligned</a:t>
            </a:r>
            <a:r>
              <a:rPr lang="es-ES" sz="1600" dirty="0">
                <a:solidFill>
                  <a:schemeClr val="tx1"/>
                </a:solidFill>
              </a:rPr>
              <a:t>? </a:t>
            </a:r>
            <a:r>
              <a:rPr lang="es-ES" sz="1600" dirty="0" err="1">
                <a:solidFill>
                  <a:schemeClr val="tx1"/>
                </a:solidFill>
              </a:rPr>
              <a:t>Where</a:t>
            </a:r>
            <a:r>
              <a:rPr lang="es-ES" sz="1600" dirty="0">
                <a:solidFill>
                  <a:schemeClr val="tx1"/>
                </a:solidFill>
              </a:rPr>
              <a:t> to </a:t>
            </a:r>
            <a:r>
              <a:rPr lang="es-ES" sz="1600" dirty="0" err="1">
                <a:solidFill>
                  <a:schemeClr val="tx1"/>
                </a:solidFill>
              </a:rPr>
              <a:t>intervene</a:t>
            </a:r>
            <a:r>
              <a:rPr lang="es-ES" sz="1600" dirty="0">
                <a:solidFill>
                  <a:schemeClr val="tx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698703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30" grpId="0"/>
      <p:bldP spid="32" grpId="0"/>
      <p:bldP spid="39" grpId="0"/>
      <p:bldP spid="45" grpId="0" animBg="1"/>
      <p:bldP spid="4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344D16DB-BD2A-0FFC-2178-C720C0480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50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344D16DB-BD2A-0FFC-2178-C720C0480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4BE302-BB4F-43AF-6BAC-14C25F875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81" y="274046"/>
            <a:ext cx="8476912" cy="939632"/>
          </a:xfrm>
        </p:spPr>
        <p:txBody>
          <a:bodyPr vert="horz"/>
          <a:lstStyle/>
          <a:p>
            <a:r>
              <a:rPr lang="es-ES" dirty="0" err="1"/>
              <a:t>Our</a:t>
            </a:r>
            <a:r>
              <a:rPr lang="es-ES" dirty="0"/>
              <a:t> </a:t>
            </a:r>
            <a:r>
              <a:rPr lang="es-ES" dirty="0" err="1"/>
              <a:t>mode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523747-2830-9638-BD88-A646A6A91856}"/>
              </a:ext>
            </a:extLst>
          </p:cNvPr>
          <p:cNvSpPr/>
          <p:nvPr/>
        </p:nvSpPr>
        <p:spPr>
          <a:xfrm>
            <a:off x="722486" y="4474601"/>
            <a:ext cx="1508248" cy="52537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es-AR" b="1" dirty="0" err="1">
                <a:solidFill>
                  <a:schemeClr val="tx2"/>
                </a:solidFill>
              </a:rPr>
              <a:t>Revenue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20BE8EC-94C3-880C-9534-A5D80591F891}"/>
              </a:ext>
            </a:extLst>
          </p:cNvPr>
          <p:cNvSpPr/>
          <p:nvPr/>
        </p:nvSpPr>
        <p:spPr>
          <a:xfrm>
            <a:off x="4365583" y="3156832"/>
            <a:ext cx="1725723" cy="83398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 unit of critical materi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A6A71A9-1FC3-0B89-400A-A75908A9DEB8}"/>
              </a:ext>
            </a:extLst>
          </p:cNvPr>
          <p:cNvSpPr/>
          <p:nvPr/>
        </p:nvSpPr>
        <p:spPr>
          <a:xfrm>
            <a:off x="7148692" y="3156832"/>
            <a:ext cx="1420064" cy="83398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 clean tech produc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56C69BD-B178-2708-93AB-6DAB0B00BC48}"/>
              </a:ext>
            </a:extLst>
          </p:cNvPr>
          <p:cNvSpPr/>
          <p:nvPr/>
        </p:nvSpPr>
        <p:spPr>
          <a:xfrm>
            <a:off x="9552251" y="3156832"/>
            <a:ext cx="1725723" cy="833984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rgbClr val="CC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b="1" dirty="0">
                <a:solidFill>
                  <a:schemeClr val="tx2"/>
                </a:solidFill>
              </a:rPr>
              <a:t>1 MWh of clean energy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0CD445A-4EAC-4DE6-85B3-9945E2E7F299}"/>
              </a:ext>
            </a:extLst>
          </p:cNvPr>
          <p:cNvSpPr/>
          <p:nvPr/>
        </p:nvSpPr>
        <p:spPr>
          <a:xfrm>
            <a:off x="6053075" y="3670192"/>
            <a:ext cx="939229" cy="2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Material efficiency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81F91A5-2C52-01B1-775E-3871E0E899B4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8568756" y="3573824"/>
            <a:ext cx="9834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34F03F1C-9890-A56D-5892-350DF58518A5}"/>
              </a:ext>
            </a:extLst>
          </p:cNvPr>
          <p:cNvSpPr/>
          <p:nvPr/>
        </p:nvSpPr>
        <p:spPr>
          <a:xfrm>
            <a:off x="8635926" y="3670192"/>
            <a:ext cx="939229" cy="2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>
                <a:solidFill>
                  <a:schemeClr val="tx1"/>
                </a:solidFill>
              </a:rPr>
              <a:t>Energy conversion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F4CD82E-410D-A940-122D-2DC31BC2666A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>
            <a:off x="6091306" y="3573824"/>
            <a:ext cx="10573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77A0A295-4164-1128-10CA-AF8D0E2774ED}"/>
              </a:ext>
            </a:extLst>
          </p:cNvPr>
          <p:cNvSpPr/>
          <p:nvPr/>
        </p:nvSpPr>
        <p:spPr>
          <a:xfrm>
            <a:off x="722486" y="1876576"/>
            <a:ext cx="1508248" cy="66340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r>
              <a:rPr lang="es-AR" b="1" dirty="0">
                <a:solidFill>
                  <a:schemeClr val="tx2"/>
                </a:solidFill>
              </a:rPr>
              <a:t>Material </a:t>
            </a:r>
            <a:r>
              <a:rPr lang="es-AR" b="1" dirty="0" err="1">
                <a:solidFill>
                  <a:schemeClr val="tx2"/>
                </a:solidFill>
              </a:rPr>
              <a:t>Cost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01F6605-ED56-52C5-BA09-FFB8E59A0725}"/>
              </a:ext>
            </a:extLst>
          </p:cNvPr>
          <p:cNvSpPr/>
          <p:nvPr/>
        </p:nvSpPr>
        <p:spPr>
          <a:xfrm>
            <a:off x="4090918" y="2159236"/>
            <a:ext cx="2821512" cy="5192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b="0" dirty="0" err="1">
                <a:solidFill>
                  <a:schemeClr val="tx1"/>
                </a:solidFill>
              </a:rPr>
              <a:t>Random</a:t>
            </a:r>
            <a:r>
              <a:rPr lang="es-AR" sz="1400" b="0" dirty="0">
                <a:solidFill>
                  <a:schemeClr val="tx1"/>
                </a:solidFill>
              </a:rPr>
              <a:t> </a:t>
            </a:r>
            <a:r>
              <a:rPr lang="es-AR" sz="1400" b="0" dirty="0" err="1">
                <a:solidFill>
                  <a:schemeClr val="tx1"/>
                </a:solidFill>
              </a:rPr>
              <a:t>componen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5E67B8A4-E1B5-33B3-5AE5-687318DC7781}"/>
              </a:ext>
            </a:extLst>
          </p:cNvPr>
          <p:cNvSpPr/>
          <p:nvPr/>
        </p:nvSpPr>
        <p:spPr>
          <a:xfrm>
            <a:off x="4090918" y="1715799"/>
            <a:ext cx="2821512" cy="5192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AR" sz="1400" dirty="0">
                <a:solidFill>
                  <a:schemeClr val="tx1"/>
                </a:solidFill>
              </a:rPr>
              <a:t>Price </a:t>
            </a:r>
            <a:r>
              <a:rPr lang="es-AR" sz="1400" dirty="0" err="1">
                <a:solidFill>
                  <a:schemeClr val="tx1"/>
                </a:solidFill>
              </a:rPr>
              <a:t>increases</a:t>
            </a:r>
            <a:r>
              <a:rPr lang="es-AR" sz="1400" dirty="0">
                <a:solidFill>
                  <a:schemeClr val="tx1"/>
                </a:solidFill>
              </a:rPr>
              <a:t> </a:t>
            </a:r>
            <a:r>
              <a:rPr lang="es-AR" sz="1400" dirty="0" err="1">
                <a:solidFill>
                  <a:schemeClr val="tx1"/>
                </a:solidFill>
              </a:rPr>
              <a:t>with</a:t>
            </a:r>
            <a:r>
              <a:rPr lang="es-AR" sz="1400" dirty="0">
                <a:solidFill>
                  <a:schemeClr val="tx1"/>
                </a:solidFill>
              </a:rPr>
              <a:t> </a:t>
            </a:r>
            <a:r>
              <a:rPr lang="es-AR" sz="1400" dirty="0" err="1">
                <a:solidFill>
                  <a:schemeClr val="tx1"/>
                </a:solidFill>
              </a:rPr>
              <a:t>consumptio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CA486DA-B07A-390A-FECD-497399BBFF32}"/>
              </a:ext>
            </a:extLst>
          </p:cNvPr>
          <p:cNvSpPr/>
          <p:nvPr/>
        </p:nvSpPr>
        <p:spPr>
          <a:xfrm>
            <a:off x="2509620" y="2159236"/>
            <a:ext cx="1382551" cy="5192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s-AR" sz="1600" b="1" dirty="0" err="1">
                <a:solidFill>
                  <a:schemeClr val="tx2"/>
                </a:solidFill>
              </a:rPr>
              <a:t>Volatility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685A5AD-7381-DABE-5835-873ABF087A5B}"/>
              </a:ext>
            </a:extLst>
          </p:cNvPr>
          <p:cNvSpPr/>
          <p:nvPr/>
        </p:nvSpPr>
        <p:spPr>
          <a:xfrm>
            <a:off x="2509620" y="1715799"/>
            <a:ext cx="1382551" cy="5192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s-AR" sz="1600" b="1" dirty="0" err="1">
                <a:solidFill>
                  <a:schemeClr val="tx2"/>
                </a:solidFill>
              </a:rPr>
              <a:t>Scarcity</a:t>
            </a:r>
            <a:endParaRPr lang="en-US" sz="1600" b="1" dirty="0">
              <a:solidFill>
                <a:schemeClr val="tx2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8D0E404-8575-9D73-26D2-78251365DF4F}"/>
              </a:ext>
            </a:extLst>
          </p:cNvPr>
          <p:cNvGrpSpPr/>
          <p:nvPr/>
        </p:nvGrpSpPr>
        <p:grpSpPr>
          <a:xfrm>
            <a:off x="6858000" y="1572450"/>
            <a:ext cx="4916399" cy="1210744"/>
            <a:chOff x="6500101" y="1673058"/>
            <a:chExt cx="5328728" cy="1110135"/>
          </a:xfrm>
        </p:grpSpPr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495BA0C8-B709-53FD-EBA0-A11152E408D0}"/>
                </a:ext>
              </a:extLst>
            </p:cNvPr>
            <p:cNvCxnSpPr/>
            <p:nvPr/>
          </p:nvCxnSpPr>
          <p:spPr>
            <a:xfrm>
              <a:off x="7162175" y="2348151"/>
              <a:ext cx="4391247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E10E6B0-4978-7D83-3DF5-73FBBABEB7DD}"/>
                </a:ext>
              </a:extLst>
            </p:cNvPr>
            <p:cNvSpPr/>
            <p:nvPr/>
          </p:nvSpPr>
          <p:spPr>
            <a:xfrm>
              <a:off x="10957999" y="2533453"/>
              <a:ext cx="870830" cy="24974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600" dirty="0">
                  <a:solidFill>
                    <a:schemeClr val="tx1"/>
                  </a:solidFill>
                </a:rPr>
                <a:t>Time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9715E5A-0C74-C724-E20D-3EC5343B8F88}"/>
                </a:ext>
              </a:extLst>
            </p:cNvPr>
            <p:cNvSpPr/>
            <p:nvPr/>
          </p:nvSpPr>
          <p:spPr>
            <a:xfrm>
              <a:off x="6500101" y="1673058"/>
              <a:ext cx="1761918" cy="26987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i="1" dirty="0">
                  <a:solidFill>
                    <a:schemeClr val="tx1"/>
                  </a:solidFill>
                </a:rPr>
                <a:t>Producer </a:t>
              </a:r>
              <a:r>
                <a:rPr lang="es-ES" sz="1400" i="1" dirty="0" err="1">
                  <a:solidFill>
                    <a:schemeClr val="tx1"/>
                  </a:solidFill>
                </a:rPr>
                <a:t>contracts</a:t>
              </a:r>
              <a:r>
                <a:rPr lang="es-ES" sz="1400" i="1" dirty="0">
                  <a:solidFill>
                    <a:schemeClr val="tx1"/>
                  </a:solidFill>
                </a:rPr>
                <a:t> q </a:t>
              </a:r>
              <a:r>
                <a:rPr lang="es-ES" sz="1400" i="1" dirty="0" err="1">
                  <a:solidFill>
                    <a:schemeClr val="tx1"/>
                  </a:solidFill>
                </a:rPr>
                <a:t>units</a:t>
              </a:r>
              <a:r>
                <a:rPr lang="es-ES" sz="1400" i="1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59A982B-3089-468B-3413-8A4D397422DB}"/>
                </a:ext>
              </a:extLst>
            </p:cNvPr>
            <p:cNvSpPr/>
            <p:nvPr/>
          </p:nvSpPr>
          <p:spPr>
            <a:xfrm>
              <a:off x="8332386" y="1673058"/>
              <a:ext cx="1761918" cy="26987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i="1" dirty="0">
                  <a:solidFill>
                    <a:schemeClr val="tx1"/>
                  </a:solidFill>
                </a:rPr>
                <a:t>Market </a:t>
              </a:r>
              <a:r>
                <a:rPr lang="es-ES" sz="1400" i="1" dirty="0" err="1">
                  <a:solidFill>
                    <a:schemeClr val="tx1"/>
                  </a:solidFill>
                </a:rPr>
                <a:t>baseline</a:t>
              </a:r>
              <a:r>
                <a:rPr lang="es-ES" sz="1400" i="1" dirty="0">
                  <a:solidFill>
                    <a:schemeClr val="tx1"/>
                  </a:solidFill>
                </a:rPr>
                <a:t> </a:t>
              </a:r>
              <a:r>
                <a:rPr lang="es-ES" sz="1400" i="1" dirty="0" err="1">
                  <a:solidFill>
                    <a:schemeClr val="tx1"/>
                  </a:solidFill>
                </a:rPr>
                <a:t>revealed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E0E4654-AA8D-8EFD-417A-6CFAA5A3C362}"/>
                </a:ext>
              </a:extLst>
            </p:cNvPr>
            <p:cNvSpPr/>
            <p:nvPr/>
          </p:nvSpPr>
          <p:spPr>
            <a:xfrm>
              <a:off x="9996669" y="1673058"/>
              <a:ext cx="1761918" cy="269873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i="1" dirty="0">
                  <a:solidFill>
                    <a:schemeClr val="tx1"/>
                  </a:solidFill>
                </a:rPr>
                <a:t>Producer </a:t>
              </a:r>
              <a:r>
                <a:rPr lang="es-ES" sz="1400" i="1" dirty="0" err="1">
                  <a:solidFill>
                    <a:schemeClr val="tx1"/>
                  </a:solidFill>
                </a:rPr>
                <a:t>pays</a:t>
              </a:r>
              <a:r>
                <a:rPr lang="es-ES" sz="1400" i="1" dirty="0">
                  <a:solidFill>
                    <a:schemeClr val="tx1"/>
                  </a:solidFill>
                </a:rPr>
                <a:t> </a:t>
              </a:r>
              <a:r>
                <a:rPr lang="es-ES" sz="1400" i="1" dirty="0" err="1">
                  <a:solidFill>
                    <a:schemeClr val="tx1"/>
                  </a:solidFill>
                </a:rPr>
                <a:t>price</a:t>
              </a:r>
              <a:endParaRPr lang="en-US" sz="1400" i="1" dirty="0">
                <a:solidFill>
                  <a:schemeClr val="tx1"/>
                </a:solidFill>
              </a:endParaRP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01DAA387-ED31-1078-853A-A25F59A9E866}"/>
                </a:ext>
              </a:extLst>
            </p:cNvPr>
            <p:cNvSpPr/>
            <p:nvPr/>
          </p:nvSpPr>
          <p:spPr>
            <a:xfrm rot="10800000">
              <a:off x="7381060" y="2137471"/>
              <a:ext cx="63795" cy="185301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0" name="Isosceles Triangle 29">
              <a:extLst>
                <a:ext uri="{FF2B5EF4-FFF2-40B4-BE49-F238E27FC236}">
                  <a16:creationId xmlns:a16="http://schemas.microsoft.com/office/drawing/2014/main" id="{2B737F2A-21C2-CB32-D9D1-6AD5665CC1B3}"/>
                </a:ext>
              </a:extLst>
            </p:cNvPr>
            <p:cNvSpPr/>
            <p:nvPr/>
          </p:nvSpPr>
          <p:spPr>
            <a:xfrm rot="10800000">
              <a:off x="9262514" y="2137471"/>
              <a:ext cx="63795" cy="185301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759187CA-639A-2861-05CE-EE40DB749F7F}"/>
                </a:ext>
              </a:extLst>
            </p:cNvPr>
            <p:cNvSpPr/>
            <p:nvPr/>
          </p:nvSpPr>
          <p:spPr>
            <a:xfrm rot="10800000">
              <a:off x="10845730" y="2137471"/>
              <a:ext cx="63795" cy="185301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670498E-BB83-EF0B-DA6F-97D03D930968}"/>
              </a:ext>
            </a:extLst>
          </p:cNvPr>
          <p:cNvCxnSpPr>
            <a:cxnSpLocks/>
          </p:cNvCxnSpPr>
          <p:nvPr/>
        </p:nvCxnSpPr>
        <p:spPr>
          <a:xfrm>
            <a:off x="722486" y="2867183"/>
            <a:ext cx="10867064" cy="0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926D8108-4ADB-0926-EF4C-5AB4DEC75BDE}"/>
              </a:ext>
            </a:extLst>
          </p:cNvPr>
          <p:cNvSpPr/>
          <p:nvPr/>
        </p:nvSpPr>
        <p:spPr>
          <a:xfrm>
            <a:off x="2509620" y="3429642"/>
            <a:ext cx="1424974" cy="3385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Benchmar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213742-BCD0-D582-47E8-B96ADCE64407}"/>
              </a:ext>
            </a:extLst>
          </p:cNvPr>
          <p:cNvSpPr/>
          <p:nvPr/>
        </p:nvSpPr>
        <p:spPr>
          <a:xfrm>
            <a:off x="2509620" y="4316035"/>
            <a:ext cx="1424974" cy="5847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s-ES" sz="1600" b="1" dirty="0">
                <a:solidFill>
                  <a:schemeClr val="tx2"/>
                </a:solidFill>
              </a:rPr>
              <a:t>Material </a:t>
            </a:r>
            <a:r>
              <a:rPr lang="es-ES" sz="1600" b="1" dirty="0" err="1">
                <a:solidFill>
                  <a:schemeClr val="tx2"/>
                </a:solidFill>
              </a:rPr>
              <a:t>Reduction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7FFED6-3012-D070-4ED4-9C772ADE5C44}"/>
              </a:ext>
            </a:extLst>
          </p:cNvPr>
          <p:cNvSpPr/>
          <p:nvPr/>
        </p:nvSpPr>
        <p:spPr>
          <a:xfrm>
            <a:off x="2509620" y="5454133"/>
            <a:ext cx="1424974" cy="5847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r>
              <a:rPr lang="en-US" sz="1600" b="1" dirty="0">
                <a:solidFill>
                  <a:schemeClr val="tx2"/>
                </a:solidFill>
              </a:rPr>
              <a:t>Urban Mining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6E4204D-FE74-809C-5544-413A798D2DAB}"/>
              </a:ext>
            </a:extLst>
          </p:cNvPr>
          <p:cNvGrpSpPr>
            <a:grpSpLocks noChangeAspect="1"/>
          </p:cNvGrpSpPr>
          <p:nvPr/>
        </p:nvGrpSpPr>
        <p:grpSpPr>
          <a:xfrm>
            <a:off x="7668831" y="3590949"/>
            <a:ext cx="379782" cy="393090"/>
            <a:chOff x="5273801" y="2606040"/>
            <a:chExt cx="1644396" cy="1645920"/>
          </a:xfrm>
        </p:grpSpPr>
        <p:sp>
          <p:nvSpPr>
            <p:cNvPr id="77" name="AutoShape 13">
              <a:extLst>
                <a:ext uri="{FF2B5EF4-FFF2-40B4-BE49-F238E27FC236}">
                  <a16:creationId xmlns:a16="http://schemas.microsoft.com/office/drawing/2014/main" id="{FDB498C2-557F-D60A-4A59-684043DEAD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FF7F2C7-A296-CE74-9859-E4CA63BA9BF3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79" name="Freeform 15">
                <a:extLst>
                  <a:ext uri="{FF2B5EF4-FFF2-40B4-BE49-F238E27FC236}">
                    <a16:creationId xmlns:a16="http://schemas.microsoft.com/office/drawing/2014/main" id="{EFF6439F-6E03-6F2A-625F-73C75AC965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80" name="Freeform 16">
                <a:extLst>
                  <a:ext uri="{FF2B5EF4-FFF2-40B4-BE49-F238E27FC236}">
                    <a16:creationId xmlns:a16="http://schemas.microsoft.com/office/drawing/2014/main" id="{E62D040B-EF1F-1913-0E14-4CA37BDC1F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</p:grpSp>
      <p:grpSp>
        <p:nvGrpSpPr>
          <p:cNvPr id="81" name="bcgIcons_Power">
            <a:extLst>
              <a:ext uri="{FF2B5EF4-FFF2-40B4-BE49-F238E27FC236}">
                <a16:creationId xmlns:a16="http://schemas.microsoft.com/office/drawing/2014/main" id="{18B9C447-3D54-4689-0234-9926F8207E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15812" y="3590949"/>
            <a:ext cx="379782" cy="393090"/>
            <a:chOff x="1682" y="0"/>
            <a:chExt cx="4316" cy="4320"/>
          </a:xfrm>
        </p:grpSpPr>
        <p:sp>
          <p:nvSpPr>
            <p:cNvPr id="82" name="AutoShape 45">
              <a:extLst>
                <a:ext uri="{FF2B5EF4-FFF2-40B4-BE49-F238E27FC236}">
                  <a16:creationId xmlns:a16="http://schemas.microsoft.com/office/drawing/2014/main" id="{CC15C830-2DAF-4B73-D6C4-D7EE0961065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7">
              <a:extLst>
                <a:ext uri="{FF2B5EF4-FFF2-40B4-BE49-F238E27FC236}">
                  <a16:creationId xmlns:a16="http://schemas.microsoft.com/office/drawing/2014/main" id="{2CF71AC3-5AFA-E98E-4067-19CB07DA47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6" y="424"/>
              <a:ext cx="1875" cy="348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84" name="Freeform 48">
              <a:extLst>
                <a:ext uri="{FF2B5EF4-FFF2-40B4-BE49-F238E27FC236}">
                  <a16:creationId xmlns:a16="http://schemas.microsoft.com/office/drawing/2014/main" id="{92F22647-6363-7E8A-FAE3-6B1C0503F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953"/>
              <a:ext cx="1390" cy="243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grpSp>
        <p:nvGrpSpPr>
          <p:cNvPr id="85" name="bcgIcons_Mining">
            <a:extLst>
              <a:ext uri="{FF2B5EF4-FFF2-40B4-BE49-F238E27FC236}">
                <a16:creationId xmlns:a16="http://schemas.microsoft.com/office/drawing/2014/main" id="{0758F383-6DC3-9D8D-9EC2-E81A2FCAD7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44762" y="3590949"/>
            <a:ext cx="313710" cy="393090"/>
            <a:chOff x="1682" y="0"/>
            <a:chExt cx="4316" cy="4320"/>
          </a:xfrm>
        </p:grpSpPr>
        <p:sp>
          <p:nvSpPr>
            <p:cNvPr id="86" name="AutoShape 38">
              <a:extLst>
                <a:ext uri="{FF2B5EF4-FFF2-40B4-BE49-F238E27FC236}">
                  <a16:creationId xmlns:a16="http://schemas.microsoft.com/office/drawing/2014/main" id="{18EC2B0B-3A07-18BF-42A3-0802539CCF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0">
              <a:extLst>
                <a:ext uri="{FF2B5EF4-FFF2-40B4-BE49-F238E27FC236}">
                  <a16:creationId xmlns:a16="http://schemas.microsoft.com/office/drawing/2014/main" id="{2CA06CA9-3E5B-899B-7C07-D1992C9D36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1">
              <a:extLst>
                <a:ext uri="{FF2B5EF4-FFF2-40B4-BE49-F238E27FC236}">
                  <a16:creationId xmlns:a16="http://schemas.microsoft.com/office/drawing/2014/main" id="{72185242-A178-A7DD-E6E9-AAE07C12FD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130A9A8E-CD90-2D6A-AAFB-7D27A551C459}"/>
              </a:ext>
            </a:extLst>
          </p:cNvPr>
          <p:cNvGrpSpPr/>
          <p:nvPr/>
        </p:nvGrpSpPr>
        <p:grpSpPr>
          <a:xfrm>
            <a:off x="7246320" y="4373088"/>
            <a:ext cx="940095" cy="470667"/>
            <a:chOff x="7078759" y="5237217"/>
            <a:chExt cx="940095" cy="470667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E8CEA4A2-9676-634D-6D3F-36BD66E59C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78759" y="5237217"/>
              <a:ext cx="454733" cy="470667"/>
              <a:chOff x="5273801" y="2606040"/>
              <a:chExt cx="1644396" cy="1645920"/>
            </a:xfrm>
          </p:grpSpPr>
          <p:sp>
            <p:nvSpPr>
              <p:cNvPr id="127" name="AutoShape 13">
                <a:extLst>
                  <a:ext uri="{FF2B5EF4-FFF2-40B4-BE49-F238E27FC236}">
                    <a16:creationId xmlns:a16="http://schemas.microsoft.com/office/drawing/2014/main" id="{27272940-0F89-98E8-79EB-6C11710FA44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1A78BCD6-E7EB-E841-F82C-A78A9FF5E423}"/>
                  </a:ext>
                </a:extLst>
              </p:cNvPr>
              <p:cNvGrpSpPr/>
              <p:nvPr/>
            </p:nvGrpSpPr>
            <p:grpSpPr>
              <a:xfrm>
                <a:off x="5428106" y="3007614"/>
                <a:ext cx="1337310" cy="1122807"/>
                <a:chOff x="5428106" y="3007614"/>
                <a:chExt cx="1337310" cy="1122807"/>
              </a:xfrm>
            </p:grpSpPr>
            <p:sp>
              <p:nvSpPr>
                <p:cNvPr id="131" name="Freeform 15">
                  <a:extLst>
                    <a:ext uri="{FF2B5EF4-FFF2-40B4-BE49-F238E27FC236}">
                      <a16:creationId xmlns:a16="http://schemas.microsoft.com/office/drawing/2014/main" id="{2E3A5499-16A5-50AE-238E-1947A57D6DC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7072" y="3098292"/>
                  <a:ext cx="1124331" cy="1032129"/>
                </a:xfrm>
                <a:custGeom>
                  <a:avLst/>
                  <a:gdLst>
                    <a:gd name="T0" fmla="*/ 1216 w 1575"/>
                    <a:gd name="T1" fmla="*/ 1445 h 1445"/>
                    <a:gd name="T2" fmla="*/ 328 w 1575"/>
                    <a:gd name="T3" fmla="*/ 1315 h 1445"/>
                    <a:gd name="T4" fmla="*/ 405 w 1575"/>
                    <a:gd name="T5" fmla="*/ 1250 h 1445"/>
                    <a:gd name="T6" fmla="*/ 1161 w 1575"/>
                    <a:gd name="T7" fmla="*/ 1250 h 1445"/>
                    <a:gd name="T8" fmla="*/ 1239 w 1575"/>
                    <a:gd name="T9" fmla="*/ 1315 h 1445"/>
                    <a:gd name="T10" fmla="*/ 266 w 1575"/>
                    <a:gd name="T11" fmla="*/ 0 h 1445"/>
                    <a:gd name="T12" fmla="*/ 72 w 1575"/>
                    <a:gd name="T13" fmla="*/ 172 h 1445"/>
                    <a:gd name="T14" fmla="*/ 260 w 1575"/>
                    <a:gd name="T15" fmla="*/ 174 h 1445"/>
                    <a:gd name="T16" fmla="*/ 242 w 1575"/>
                    <a:gd name="T17" fmla="*/ 249 h 1445"/>
                    <a:gd name="T18" fmla="*/ 38 w 1575"/>
                    <a:gd name="T19" fmla="*/ 439 h 1445"/>
                    <a:gd name="T20" fmla="*/ 235 w 1575"/>
                    <a:gd name="T21" fmla="*/ 441 h 1445"/>
                    <a:gd name="T22" fmla="*/ 217 w 1575"/>
                    <a:gd name="T23" fmla="*/ 523 h 1445"/>
                    <a:gd name="T24" fmla="*/ 0 w 1575"/>
                    <a:gd name="T25" fmla="*/ 733 h 1445"/>
                    <a:gd name="T26" fmla="*/ 208 w 1575"/>
                    <a:gd name="T27" fmla="*/ 735 h 1445"/>
                    <a:gd name="T28" fmla="*/ 507 w 1575"/>
                    <a:gd name="T29" fmla="*/ 0 h 1445"/>
                    <a:gd name="T30" fmla="*/ 320 w 1575"/>
                    <a:gd name="T31" fmla="*/ 173 h 1445"/>
                    <a:gd name="T32" fmla="*/ 509 w 1575"/>
                    <a:gd name="T33" fmla="*/ 174 h 1445"/>
                    <a:gd name="T34" fmla="*/ 494 w 1575"/>
                    <a:gd name="T35" fmla="*/ 249 h 1445"/>
                    <a:gd name="T36" fmla="*/ 298 w 1575"/>
                    <a:gd name="T37" fmla="*/ 440 h 1445"/>
                    <a:gd name="T38" fmla="*/ 495 w 1575"/>
                    <a:gd name="T39" fmla="*/ 441 h 1445"/>
                    <a:gd name="T40" fmla="*/ 481 w 1575"/>
                    <a:gd name="T41" fmla="*/ 523 h 1445"/>
                    <a:gd name="T42" fmla="*/ 273 w 1575"/>
                    <a:gd name="T43" fmla="*/ 734 h 1445"/>
                    <a:gd name="T44" fmla="*/ 481 w 1575"/>
                    <a:gd name="T45" fmla="*/ 735 h 1445"/>
                    <a:gd name="T46" fmla="*/ 748 w 1575"/>
                    <a:gd name="T47" fmla="*/ 0 h 1445"/>
                    <a:gd name="T48" fmla="*/ 569 w 1575"/>
                    <a:gd name="T49" fmla="*/ 173 h 1445"/>
                    <a:gd name="T50" fmla="*/ 757 w 1575"/>
                    <a:gd name="T51" fmla="*/ 173 h 1445"/>
                    <a:gd name="T52" fmla="*/ 747 w 1575"/>
                    <a:gd name="T53" fmla="*/ 249 h 1445"/>
                    <a:gd name="T54" fmla="*/ 558 w 1575"/>
                    <a:gd name="T55" fmla="*/ 440 h 1445"/>
                    <a:gd name="T56" fmla="*/ 756 w 1575"/>
                    <a:gd name="T57" fmla="*/ 440 h 1445"/>
                    <a:gd name="T58" fmla="*/ 745 w 1575"/>
                    <a:gd name="T59" fmla="*/ 523 h 1445"/>
                    <a:gd name="T60" fmla="*/ 547 w 1575"/>
                    <a:gd name="T61" fmla="*/ 734 h 1445"/>
                    <a:gd name="T62" fmla="*/ 754 w 1575"/>
                    <a:gd name="T63" fmla="*/ 734 h 1445"/>
                    <a:gd name="T64" fmla="*/ 989 w 1575"/>
                    <a:gd name="T65" fmla="*/ 0 h 1445"/>
                    <a:gd name="T66" fmla="*/ 817 w 1575"/>
                    <a:gd name="T67" fmla="*/ 173 h 1445"/>
                    <a:gd name="T68" fmla="*/ 1005 w 1575"/>
                    <a:gd name="T69" fmla="*/ 173 h 1445"/>
                    <a:gd name="T70" fmla="*/ 999 w 1575"/>
                    <a:gd name="T71" fmla="*/ 249 h 1445"/>
                    <a:gd name="T72" fmla="*/ 818 w 1575"/>
                    <a:gd name="T73" fmla="*/ 440 h 1445"/>
                    <a:gd name="T74" fmla="*/ 1016 w 1575"/>
                    <a:gd name="T75" fmla="*/ 440 h 1445"/>
                    <a:gd name="T76" fmla="*/ 1009 w 1575"/>
                    <a:gd name="T77" fmla="*/ 523 h 1445"/>
                    <a:gd name="T78" fmla="*/ 820 w 1575"/>
                    <a:gd name="T79" fmla="*/ 734 h 1445"/>
                    <a:gd name="T80" fmla="*/ 1027 w 1575"/>
                    <a:gd name="T81" fmla="*/ 734 h 1445"/>
                    <a:gd name="T82" fmla="*/ 1229 w 1575"/>
                    <a:gd name="T83" fmla="*/ 0 h 1445"/>
                    <a:gd name="T84" fmla="*/ 1065 w 1575"/>
                    <a:gd name="T85" fmla="*/ 174 h 1445"/>
                    <a:gd name="T86" fmla="*/ 1253 w 1575"/>
                    <a:gd name="T87" fmla="*/ 173 h 1445"/>
                    <a:gd name="T88" fmla="*/ 1251 w 1575"/>
                    <a:gd name="T89" fmla="*/ 249 h 1445"/>
                    <a:gd name="T90" fmla="*/ 1078 w 1575"/>
                    <a:gd name="T91" fmla="*/ 441 h 1445"/>
                    <a:gd name="T92" fmla="*/ 1276 w 1575"/>
                    <a:gd name="T93" fmla="*/ 440 h 1445"/>
                    <a:gd name="T94" fmla="*/ 1274 w 1575"/>
                    <a:gd name="T95" fmla="*/ 523 h 1445"/>
                    <a:gd name="T96" fmla="*/ 1093 w 1575"/>
                    <a:gd name="T97" fmla="*/ 735 h 1445"/>
                    <a:gd name="T98" fmla="*/ 1301 w 1575"/>
                    <a:gd name="T99" fmla="*/ 734 h 1445"/>
                    <a:gd name="T100" fmla="*/ 1470 w 1575"/>
                    <a:gd name="T101" fmla="*/ 0 h 1445"/>
                    <a:gd name="T102" fmla="*/ 1313 w 1575"/>
                    <a:gd name="T103" fmla="*/ 174 h 1445"/>
                    <a:gd name="T104" fmla="*/ 1501 w 1575"/>
                    <a:gd name="T105" fmla="*/ 172 h 1445"/>
                    <a:gd name="T106" fmla="*/ 1503 w 1575"/>
                    <a:gd name="T107" fmla="*/ 249 h 1445"/>
                    <a:gd name="T108" fmla="*/ 1339 w 1575"/>
                    <a:gd name="T109" fmla="*/ 441 h 1445"/>
                    <a:gd name="T110" fmla="*/ 1536 w 1575"/>
                    <a:gd name="T111" fmla="*/ 439 h 1445"/>
                    <a:gd name="T112" fmla="*/ 1538 w 1575"/>
                    <a:gd name="T113" fmla="*/ 523 h 1445"/>
                    <a:gd name="T114" fmla="*/ 1367 w 1575"/>
                    <a:gd name="T115" fmla="*/ 735 h 1445"/>
                    <a:gd name="T116" fmla="*/ 1574 w 1575"/>
                    <a:gd name="T117" fmla="*/ 733 h 1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75" h="1445">
                      <a:moveTo>
                        <a:pt x="1239" y="1315"/>
                      </a:moveTo>
                      <a:cubicBezTo>
                        <a:pt x="1239" y="1422"/>
                        <a:pt x="1239" y="1422"/>
                        <a:pt x="1239" y="1422"/>
                      </a:cubicBezTo>
                      <a:cubicBezTo>
                        <a:pt x="1239" y="1434"/>
                        <a:pt x="1228" y="1445"/>
                        <a:pt x="1216" y="1445"/>
                      </a:cubicBezTo>
                      <a:cubicBezTo>
                        <a:pt x="351" y="1445"/>
                        <a:pt x="351" y="1445"/>
                        <a:pt x="351" y="1445"/>
                      </a:cubicBezTo>
                      <a:cubicBezTo>
                        <a:pt x="338" y="1445"/>
                        <a:pt x="328" y="1434"/>
                        <a:pt x="328" y="1422"/>
                      </a:cubicBezTo>
                      <a:cubicBezTo>
                        <a:pt x="328" y="1315"/>
                        <a:pt x="328" y="1315"/>
                        <a:pt x="328" y="1315"/>
                      </a:cubicBezTo>
                      <a:cubicBezTo>
                        <a:pt x="328" y="1303"/>
                        <a:pt x="338" y="1292"/>
                        <a:pt x="351" y="1292"/>
                      </a:cubicBezTo>
                      <a:cubicBezTo>
                        <a:pt x="405" y="1292"/>
                        <a:pt x="405" y="1292"/>
                        <a:pt x="405" y="1292"/>
                      </a:cubicBezTo>
                      <a:cubicBezTo>
                        <a:pt x="405" y="1250"/>
                        <a:pt x="405" y="1250"/>
                        <a:pt x="405" y="1250"/>
                      </a:cubicBezTo>
                      <a:cubicBezTo>
                        <a:pt x="405" y="1237"/>
                        <a:pt x="415" y="1227"/>
                        <a:pt x="428" y="1227"/>
                      </a:cubicBezTo>
                      <a:cubicBezTo>
                        <a:pt x="1138" y="1227"/>
                        <a:pt x="1138" y="1227"/>
                        <a:pt x="1138" y="1227"/>
                      </a:cubicBezTo>
                      <a:cubicBezTo>
                        <a:pt x="1151" y="1227"/>
                        <a:pt x="1161" y="1237"/>
                        <a:pt x="1161" y="1250"/>
                      </a:cubicBezTo>
                      <a:cubicBezTo>
                        <a:pt x="1161" y="1292"/>
                        <a:pt x="1161" y="1292"/>
                        <a:pt x="1161" y="1292"/>
                      </a:cubicBezTo>
                      <a:cubicBezTo>
                        <a:pt x="1216" y="1292"/>
                        <a:pt x="1216" y="1292"/>
                        <a:pt x="1216" y="1292"/>
                      </a:cubicBezTo>
                      <a:cubicBezTo>
                        <a:pt x="1228" y="1292"/>
                        <a:pt x="1239" y="1303"/>
                        <a:pt x="1239" y="1315"/>
                      </a:cubicBezTo>
                      <a:close/>
                      <a:moveTo>
                        <a:pt x="260" y="174"/>
                      </a:moveTo>
                      <a:cubicBezTo>
                        <a:pt x="276" y="11"/>
                        <a:pt x="276" y="11"/>
                        <a:pt x="276" y="11"/>
                      </a:cubicBezTo>
                      <a:cubicBezTo>
                        <a:pt x="276" y="5"/>
                        <a:pt x="272" y="0"/>
                        <a:pt x="266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98" y="0"/>
                        <a:pt x="94" y="4"/>
                        <a:pt x="93" y="9"/>
                      </a:cubicBezTo>
                      <a:cubicBezTo>
                        <a:pt x="72" y="172"/>
                        <a:pt x="72" y="172"/>
                        <a:pt x="72" y="172"/>
                      </a:cubicBezTo>
                      <a:cubicBezTo>
                        <a:pt x="72" y="178"/>
                        <a:pt x="76" y="183"/>
                        <a:pt x="82" y="183"/>
                      </a:cubicBezTo>
                      <a:cubicBezTo>
                        <a:pt x="251" y="183"/>
                        <a:pt x="251" y="183"/>
                        <a:pt x="251" y="183"/>
                      </a:cubicBezTo>
                      <a:cubicBezTo>
                        <a:pt x="256" y="183"/>
                        <a:pt x="260" y="179"/>
                        <a:pt x="260" y="174"/>
                      </a:cubicBezTo>
                      <a:close/>
                      <a:moveTo>
                        <a:pt x="235" y="441"/>
                      </a:moveTo>
                      <a:cubicBezTo>
                        <a:pt x="252" y="260"/>
                        <a:pt x="252" y="260"/>
                        <a:pt x="252" y="260"/>
                      </a:cubicBezTo>
                      <a:cubicBezTo>
                        <a:pt x="253" y="254"/>
                        <a:pt x="248" y="249"/>
                        <a:pt x="242" y="249"/>
                      </a:cubicBezTo>
                      <a:cubicBezTo>
                        <a:pt x="71" y="249"/>
                        <a:pt x="71" y="249"/>
                        <a:pt x="71" y="249"/>
                      </a:cubicBezTo>
                      <a:cubicBezTo>
                        <a:pt x="66" y="249"/>
                        <a:pt x="62" y="253"/>
                        <a:pt x="61" y="258"/>
                      </a:cubicBezTo>
                      <a:cubicBezTo>
                        <a:pt x="38" y="439"/>
                        <a:pt x="38" y="439"/>
                        <a:pt x="38" y="439"/>
                      </a:cubicBezTo>
                      <a:cubicBezTo>
                        <a:pt x="37" y="445"/>
                        <a:pt x="42" y="450"/>
                        <a:pt x="48" y="450"/>
                      </a:cubicBezTo>
                      <a:cubicBezTo>
                        <a:pt x="225" y="450"/>
                        <a:pt x="225" y="450"/>
                        <a:pt x="225" y="450"/>
                      </a:cubicBezTo>
                      <a:cubicBezTo>
                        <a:pt x="230" y="450"/>
                        <a:pt x="235" y="446"/>
                        <a:pt x="235" y="441"/>
                      </a:cubicBezTo>
                      <a:close/>
                      <a:moveTo>
                        <a:pt x="208" y="735"/>
                      </a:moveTo>
                      <a:cubicBezTo>
                        <a:pt x="227" y="534"/>
                        <a:pt x="227" y="534"/>
                        <a:pt x="227" y="534"/>
                      </a:cubicBezTo>
                      <a:cubicBezTo>
                        <a:pt x="227" y="528"/>
                        <a:pt x="223" y="523"/>
                        <a:pt x="217" y="523"/>
                      </a:cubicBezTo>
                      <a:cubicBezTo>
                        <a:pt x="36" y="523"/>
                        <a:pt x="36" y="523"/>
                        <a:pt x="36" y="523"/>
                      </a:cubicBezTo>
                      <a:cubicBezTo>
                        <a:pt x="31" y="523"/>
                        <a:pt x="27" y="527"/>
                        <a:pt x="26" y="532"/>
                      </a:cubicBezTo>
                      <a:cubicBezTo>
                        <a:pt x="0" y="733"/>
                        <a:pt x="0" y="733"/>
                        <a:pt x="0" y="733"/>
                      </a:cubicBezTo>
                      <a:cubicBezTo>
                        <a:pt x="0" y="739"/>
                        <a:pt x="4" y="744"/>
                        <a:pt x="10" y="744"/>
                      </a:cubicBezTo>
                      <a:cubicBezTo>
                        <a:pt x="198" y="744"/>
                        <a:pt x="198" y="744"/>
                        <a:pt x="198" y="744"/>
                      </a:cubicBezTo>
                      <a:cubicBezTo>
                        <a:pt x="203" y="744"/>
                        <a:pt x="207" y="741"/>
                        <a:pt x="208" y="735"/>
                      </a:cubicBezTo>
                      <a:close/>
                      <a:moveTo>
                        <a:pt x="509" y="174"/>
                      </a:moveTo>
                      <a:cubicBezTo>
                        <a:pt x="517" y="10"/>
                        <a:pt x="517" y="10"/>
                        <a:pt x="517" y="10"/>
                      </a:cubicBezTo>
                      <a:cubicBezTo>
                        <a:pt x="517" y="5"/>
                        <a:pt x="513" y="0"/>
                        <a:pt x="507" y="0"/>
                      </a:cubicBez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339" y="0"/>
                        <a:pt x="334" y="4"/>
                        <a:pt x="334" y="9"/>
                      </a:cubicBezTo>
                      <a:cubicBezTo>
                        <a:pt x="320" y="173"/>
                        <a:pt x="320" y="173"/>
                        <a:pt x="320" y="173"/>
                      </a:cubicBezTo>
                      <a:cubicBezTo>
                        <a:pt x="320" y="178"/>
                        <a:pt x="325" y="183"/>
                        <a:pt x="330" y="183"/>
                      </a:cubicBezTo>
                      <a:cubicBezTo>
                        <a:pt x="499" y="183"/>
                        <a:pt x="499" y="183"/>
                        <a:pt x="499" y="183"/>
                      </a:cubicBezTo>
                      <a:cubicBezTo>
                        <a:pt x="504" y="183"/>
                        <a:pt x="508" y="179"/>
                        <a:pt x="509" y="174"/>
                      </a:cubicBezTo>
                      <a:close/>
                      <a:moveTo>
                        <a:pt x="495" y="441"/>
                      </a:moveTo>
                      <a:cubicBezTo>
                        <a:pt x="504" y="260"/>
                        <a:pt x="504" y="260"/>
                        <a:pt x="504" y="260"/>
                      </a:cubicBezTo>
                      <a:cubicBezTo>
                        <a:pt x="505" y="254"/>
                        <a:pt x="500" y="249"/>
                        <a:pt x="494" y="249"/>
                      </a:cubicBezTo>
                      <a:cubicBezTo>
                        <a:pt x="323" y="249"/>
                        <a:pt x="323" y="249"/>
                        <a:pt x="323" y="249"/>
                      </a:cubicBezTo>
                      <a:cubicBezTo>
                        <a:pt x="318" y="249"/>
                        <a:pt x="314" y="253"/>
                        <a:pt x="313" y="258"/>
                      </a:cubicBezTo>
                      <a:cubicBezTo>
                        <a:pt x="298" y="440"/>
                        <a:pt x="298" y="440"/>
                        <a:pt x="298" y="440"/>
                      </a:cubicBezTo>
                      <a:cubicBezTo>
                        <a:pt x="298" y="445"/>
                        <a:pt x="302" y="450"/>
                        <a:pt x="308" y="450"/>
                      </a:cubicBezTo>
                      <a:cubicBezTo>
                        <a:pt x="485" y="450"/>
                        <a:pt x="485" y="450"/>
                        <a:pt x="485" y="450"/>
                      </a:cubicBezTo>
                      <a:cubicBezTo>
                        <a:pt x="491" y="450"/>
                        <a:pt x="495" y="446"/>
                        <a:pt x="495" y="441"/>
                      </a:cubicBezTo>
                      <a:close/>
                      <a:moveTo>
                        <a:pt x="481" y="735"/>
                      </a:moveTo>
                      <a:cubicBezTo>
                        <a:pt x="491" y="533"/>
                        <a:pt x="491" y="533"/>
                        <a:pt x="491" y="533"/>
                      </a:cubicBezTo>
                      <a:cubicBezTo>
                        <a:pt x="491" y="528"/>
                        <a:pt x="487" y="523"/>
                        <a:pt x="481" y="523"/>
                      </a:cubicBezTo>
                      <a:cubicBezTo>
                        <a:pt x="300" y="523"/>
                        <a:pt x="300" y="523"/>
                        <a:pt x="300" y="523"/>
                      </a:cubicBezTo>
                      <a:cubicBezTo>
                        <a:pt x="295" y="523"/>
                        <a:pt x="291" y="527"/>
                        <a:pt x="290" y="532"/>
                      </a:cubicBezTo>
                      <a:cubicBezTo>
                        <a:pt x="273" y="734"/>
                        <a:pt x="273" y="734"/>
                        <a:pt x="273" y="734"/>
                      </a:cubicBezTo>
                      <a:cubicBezTo>
                        <a:pt x="273" y="739"/>
                        <a:pt x="278" y="744"/>
                        <a:pt x="283" y="744"/>
                      </a:cubicBezTo>
                      <a:cubicBezTo>
                        <a:pt x="471" y="744"/>
                        <a:pt x="471" y="744"/>
                        <a:pt x="471" y="744"/>
                      </a:cubicBezTo>
                      <a:cubicBezTo>
                        <a:pt x="476" y="744"/>
                        <a:pt x="481" y="740"/>
                        <a:pt x="481" y="735"/>
                      </a:cubicBezTo>
                      <a:close/>
                      <a:moveTo>
                        <a:pt x="757" y="173"/>
                      </a:moveTo>
                      <a:cubicBezTo>
                        <a:pt x="758" y="10"/>
                        <a:pt x="758" y="10"/>
                        <a:pt x="758" y="10"/>
                      </a:cubicBezTo>
                      <a:cubicBezTo>
                        <a:pt x="758" y="4"/>
                        <a:pt x="753" y="0"/>
                        <a:pt x="748" y="0"/>
                      </a:cubicBezTo>
                      <a:cubicBezTo>
                        <a:pt x="585" y="0"/>
                        <a:pt x="585" y="0"/>
                        <a:pt x="585" y="0"/>
                      </a:cubicBezTo>
                      <a:cubicBezTo>
                        <a:pt x="579" y="0"/>
                        <a:pt x="575" y="4"/>
                        <a:pt x="575" y="10"/>
                      </a:cubicBezTo>
                      <a:cubicBezTo>
                        <a:pt x="569" y="173"/>
                        <a:pt x="569" y="173"/>
                        <a:pt x="569" y="173"/>
                      </a:cubicBezTo>
                      <a:cubicBezTo>
                        <a:pt x="568" y="179"/>
                        <a:pt x="573" y="183"/>
                        <a:pt x="579" y="183"/>
                      </a:cubicBezTo>
                      <a:cubicBezTo>
                        <a:pt x="747" y="183"/>
                        <a:pt x="747" y="183"/>
                        <a:pt x="747" y="183"/>
                      </a:cubicBezTo>
                      <a:cubicBezTo>
                        <a:pt x="752" y="183"/>
                        <a:pt x="757" y="179"/>
                        <a:pt x="757" y="173"/>
                      </a:cubicBezTo>
                      <a:close/>
                      <a:moveTo>
                        <a:pt x="756" y="440"/>
                      </a:moveTo>
                      <a:cubicBezTo>
                        <a:pt x="757" y="259"/>
                        <a:pt x="757" y="259"/>
                        <a:pt x="757" y="259"/>
                      </a:cubicBezTo>
                      <a:cubicBezTo>
                        <a:pt x="757" y="254"/>
                        <a:pt x="752" y="249"/>
                        <a:pt x="747" y="249"/>
                      </a:cubicBezTo>
                      <a:cubicBezTo>
                        <a:pt x="575" y="249"/>
                        <a:pt x="575" y="249"/>
                        <a:pt x="575" y="249"/>
                      </a:cubicBezTo>
                      <a:cubicBezTo>
                        <a:pt x="570" y="249"/>
                        <a:pt x="565" y="254"/>
                        <a:pt x="565" y="259"/>
                      </a:cubicBezTo>
                      <a:cubicBezTo>
                        <a:pt x="558" y="440"/>
                        <a:pt x="558" y="440"/>
                        <a:pt x="558" y="440"/>
                      </a:cubicBezTo>
                      <a:cubicBezTo>
                        <a:pt x="558" y="446"/>
                        <a:pt x="562" y="450"/>
                        <a:pt x="568" y="450"/>
                      </a:cubicBezTo>
                      <a:cubicBezTo>
                        <a:pt x="746" y="450"/>
                        <a:pt x="746" y="450"/>
                        <a:pt x="746" y="450"/>
                      </a:cubicBezTo>
                      <a:cubicBezTo>
                        <a:pt x="751" y="450"/>
                        <a:pt x="756" y="446"/>
                        <a:pt x="756" y="440"/>
                      </a:cubicBezTo>
                      <a:close/>
                      <a:moveTo>
                        <a:pt x="754" y="734"/>
                      </a:moveTo>
                      <a:cubicBezTo>
                        <a:pt x="755" y="533"/>
                        <a:pt x="755" y="533"/>
                        <a:pt x="755" y="533"/>
                      </a:cubicBezTo>
                      <a:cubicBezTo>
                        <a:pt x="755" y="527"/>
                        <a:pt x="751" y="523"/>
                        <a:pt x="745" y="523"/>
                      </a:cubicBezTo>
                      <a:cubicBezTo>
                        <a:pt x="565" y="523"/>
                        <a:pt x="565" y="523"/>
                        <a:pt x="565" y="523"/>
                      </a:cubicBezTo>
                      <a:cubicBezTo>
                        <a:pt x="559" y="523"/>
                        <a:pt x="555" y="527"/>
                        <a:pt x="555" y="532"/>
                      </a:cubicBezTo>
                      <a:cubicBezTo>
                        <a:pt x="547" y="734"/>
                        <a:pt x="547" y="734"/>
                        <a:pt x="547" y="734"/>
                      </a:cubicBezTo>
                      <a:cubicBezTo>
                        <a:pt x="546" y="740"/>
                        <a:pt x="551" y="744"/>
                        <a:pt x="557" y="744"/>
                      </a:cubicBezTo>
                      <a:cubicBezTo>
                        <a:pt x="744" y="744"/>
                        <a:pt x="744" y="744"/>
                        <a:pt x="744" y="744"/>
                      </a:cubicBezTo>
                      <a:cubicBezTo>
                        <a:pt x="750" y="744"/>
                        <a:pt x="754" y="740"/>
                        <a:pt x="754" y="734"/>
                      </a:cubicBezTo>
                      <a:close/>
                      <a:moveTo>
                        <a:pt x="1005" y="173"/>
                      </a:moveTo>
                      <a:cubicBezTo>
                        <a:pt x="999" y="10"/>
                        <a:pt x="999" y="10"/>
                        <a:pt x="999" y="10"/>
                      </a:cubicBezTo>
                      <a:cubicBezTo>
                        <a:pt x="998" y="4"/>
                        <a:pt x="994" y="0"/>
                        <a:pt x="989" y="0"/>
                      </a:cubicBezTo>
                      <a:cubicBezTo>
                        <a:pt x="826" y="0"/>
                        <a:pt x="826" y="0"/>
                        <a:pt x="826" y="0"/>
                      </a:cubicBezTo>
                      <a:cubicBezTo>
                        <a:pt x="820" y="0"/>
                        <a:pt x="816" y="4"/>
                        <a:pt x="816" y="10"/>
                      </a:cubicBezTo>
                      <a:cubicBezTo>
                        <a:pt x="817" y="173"/>
                        <a:pt x="817" y="173"/>
                        <a:pt x="817" y="173"/>
                      </a:cubicBezTo>
                      <a:cubicBezTo>
                        <a:pt x="817" y="179"/>
                        <a:pt x="821" y="183"/>
                        <a:pt x="827" y="183"/>
                      </a:cubicBezTo>
                      <a:cubicBezTo>
                        <a:pt x="995" y="183"/>
                        <a:pt x="995" y="183"/>
                        <a:pt x="995" y="183"/>
                      </a:cubicBezTo>
                      <a:cubicBezTo>
                        <a:pt x="1001" y="183"/>
                        <a:pt x="1005" y="179"/>
                        <a:pt x="1005" y="173"/>
                      </a:cubicBezTo>
                      <a:close/>
                      <a:moveTo>
                        <a:pt x="1016" y="440"/>
                      </a:moveTo>
                      <a:cubicBezTo>
                        <a:pt x="1009" y="259"/>
                        <a:pt x="1009" y="259"/>
                        <a:pt x="1009" y="259"/>
                      </a:cubicBezTo>
                      <a:cubicBezTo>
                        <a:pt x="1008" y="254"/>
                        <a:pt x="1004" y="249"/>
                        <a:pt x="999" y="249"/>
                      </a:cubicBezTo>
                      <a:cubicBezTo>
                        <a:pt x="827" y="249"/>
                        <a:pt x="827" y="249"/>
                        <a:pt x="827" y="249"/>
                      </a:cubicBezTo>
                      <a:cubicBezTo>
                        <a:pt x="822" y="249"/>
                        <a:pt x="817" y="254"/>
                        <a:pt x="817" y="259"/>
                      </a:cubicBezTo>
                      <a:cubicBezTo>
                        <a:pt x="818" y="440"/>
                        <a:pt x="818" y="440"/>
                        <a:pt x="818" y="440"/>
                      </a:cubicBezTo>
                      <a:cubicBezTo>
                        <a:pt x="818" y="446"/>
                        <a:pt x="823" y="450"/>
                        <a:pt x="828" y="450"/>
                      </a:cubicBezTo>
                      <a:cubicBezTo>
                        <a:pt x="1006" y="450"/>
                        <a:pt x="1006" y="450"/>
                        <a:pt x="1006" y="450"/>
                      </a:cubicBezTo>
                      <a:cubicBezTo>
                        <a:pt x="1011" y="450"/>
                        <a:pt x="1016" y="446"/>
                        <a:pt x="1016" y="440"/>
                      </a:cubicBezTo>
                      <a:close/>
                      <a:moveTo>
                        <a:pt x="1027" y="734"/>
                      </a:moveTo>
                      <a:cubicBezTo>
                        <a:pt x="1019" y="532"/>
                        <a:pt x="1019" y="532"/>
                        <a:pt x="1019" y="532"/>
                      </a:cubicBezTo>
                      <a:cubicBezTo>
                        <a:pt x="1019" y="527"/>
                        <a:pt x="1015" y="523"/>
                        <a:pt x="1009" y="523"/>
                      </a:cubicBezTo>
                      <a:cubicBezTo>
                        <a:pt x="829" y="523"/>
                        <a:pt x="829" y="523"/>
                        <a:pt x="829" y="523"/>
                      </a:cubicBezTo>
                      <a:cubicBezTo>
                        <a:pt x="823" y="523"/>
                        <a:pt x="819" y="527"/>
                        <a:pt x="819" y="533"/>
                      </a:cubicBezTo>
                      <a:cubicBezTo>
                        <a:pt x="820" y="734"/>
                        <a:pt x="820" y="734"/>
                        <a:pt x="820" y="734"/>
                      </a:cubicBezTo>
                      <a:cubicBezTo>
                        <a:pt x="820" y="740"/>
                        <a:pt x="824" y="744"/>
                        <a:pt x="830" y="744"/>
                      </a:cubicBezTo>
                      <a:cubicBezTo>
                        <a:pt x="1017" y="744"/>
                        <a:pt x="1017" y="744"/>
                        <a:pt x="1017" y="744"/>
                      </a:cubicBezTo>
                      <a:cubicBezTo>
                        <a:pt x="1023" y="744"/>
                        <a:pt x="1028" y="740"/>
                        <a:pt x="1027" y="734"/>
                      </a:cubicBezTo>
                      <a:close/>
                      <a:moveTo>
                        <a:pt x="1253" y="173"/>
                      </a:moveTo>
                      <a:cubicBezTo>
                        <a:pt x="1239" y="9"/>
                        <a:pt x="1239" y="9"/>
                        <a:pt x="1239" y="9"/>
                      </a:cubicBezTo>
                      <a:cubicBezTo>
                        <a:pt x="1239" y="4"/>
                        <a:pt x="1235" y="0"/>
                        <a:pt x="1229" y="0"/>
                      </a:cubicBezTo>
                      <a:cubicBezTo>
                        <a:pt x="1067" y="0"/>
                        <a:pt x="1067" y="0"/>
                        <a:pt x="1067" y="0"/>
                      </a:cubicBezTo>
                      <a:cubicBezTo>
                        <a:pt x="1061" y="0"/>
                        <a:pt x="1056" y="5"/>
                        <a:pt x="1057" y="10"/>
                      </a:cubicBezTo>
                      <a:cubicBezTo>
                        <a:pt x="1065" y="174"/>
                        <a:pt x="1065" y="174"/>
                        <a:pt x="1065" y="174"/>
                      </a:cubicBezTo>
                      <a:cubicBezTo>
                        <a:pt x="1065" y="179"/>
                        <a:pt x="1070" y="183"/>
                        <a:pt x="1075" y="183"/>
                      </a:cubicBezTo>
                      <a:cubicBezTo>
                        <a:pt x="1243" y="183"/>
                        <a:pt x="1243" y="183"/>
                        <a:pt x="1243" y="183"/>
                      </a:cubicBezTo>
                      <a:cubicBezTo>
                        <a:pt x="1249" y="183"/>
                        <a:pt x="1254" y="178"/>
                        <a:pt x="1253" y="173"/>
                      </a:cubicBezTo>
                      <a:close/>
                      <a:moveTo>
                        <a:pt x="1276" y="440"/>
                      </a:moveTo>
                      <a:cubicBezTo>
                        <a:pt x="1260" y="258"/>
                        <a:pt x="1260" y="258"/>
                        <a:pt x="1260" y="258"/>
                      </a:cubicBezTo>
                      <a:cubicBezTo>
                        <a:pt x="1260" y="253"/>
                        <a:pt x="1256" y="249"/>
                        <a:pt x="1251" y="249"/>
                      </a:cubicBezTo>
                      <a:cubicBezTo>
                        <a:pt x="1079" y="249"/>
                        <a:pt x="1079" y="249"/>
                        <a:pt x="1079" y="249"/>
                      </a:cubicBezTo>
                      <a:cubicBezTo>
                        <a:pt x="1073" y="249"/>
                        <a:pt x="1069" y="254"/>
                        <a:pt x="1069" y="260"/>
                      </a:cubicBezTo>
                      <a:cubicBezTo>
                        <a:pt x="1078" y="441"/>
                        <a:pt x="1078" y="441"/>
                        <a:pt x="1078" y="441"/>
                      </a:cubicBezTo>
                      <a:cubicBezTo>
                        <a:pt x="1079" y="446"/>
                        <a:pt x="1083" y="450"/>
                        <a:pt x="1088" y="450"/>
                      </a:cubicBezTo>
                      <a:cubicBezTo>
                        <a:pt x="1266" y="450"/>
                        <a:pt x="1266" y="450"/>
                        <a:pt x="1266" y="450"/>
                      </a:cubicBezTo>
                      <a:cubicBezTo>
                        <a:pt x="1272" y="450"/>
                        <a:pt x="1276" y="445"/>
                        <a:pt x="1276" y="440"/>
                      </a:cubicBezTo>
                      <a:close/>
                      <a:moveTo>
                        <a:pt x="1301" y="734"/>
                      </a:moveTo>
                      <a:cubicBezTo>
                        <a:pt x="1284" y="532"/>
                        <a:pt x="1284" y="532"/>
                        <a:pt x="1284" y="532"/>
                      </a:cubicBezTo>
                      <a:cubicBezTo>
                        <a:pt x="1283" y="527"/>
                        <a:pt x="1279" y="523"/>
                        <a:pt x="1274" y="523"/>
                      </a:cubicBezTo>
                      <a:cubicBezTo>
                        <a:pt x="1093" y="523"/>
                        <a:pt x="1093" y="523"/>
                        <a:pt x="1093" y="523"/>
                      </a:cubicBezTo>
                      <a:cubicBezTo>
                        <a:pt x="1087" y="523"/>
                        <a:pt x="1083" y="528"/>
                        <a:pt x="1083" y="533"/>
                      </a:cubicBezTo>
                      <a:cubicBezTo>
                        <a:pt x="1093" y="735"/>
                        <a:pt x="1093" y="735"/>
                        <a:pt x="1093" y="735"/>
                      </a:cubicBezTo>
                      <a:cubicBezTo>
                        <a:pt x="1094" y="740"/>
                        <a:pt x="1098" y="744"/>
                        <a:pt x="1103" y="744"/>
                      </a:cubicBezTo>
                      <a:cubicBezTo>
                        <a:pt x="1291" y="744"/>
                        <a:pt x="1291" y="744"/>
                        <a:pt x="1291" y="744"/>
                      </a:cubicBezTo>
                      <a:cubicBezTo>
                        <a:pt x="1297" y="744"/>
                        <a:pt x="1301" y="739"/>
                        <a:pt x="1301" y="734"/>
                      </a:cubicBezTo>
                      <a:close/>
                      <a:moveTo>
                        <a:pt x="1501" y="172"/>
                      </a:moveTo>
                      <a:cubicBezTo>
                        <a:pt x="1480" y="9"/>
                        <a:pt x="1480" y="9"/>
                        <a:pt x="1480" y="9"/>
                      </a:cubicBezTo>
                      <a:cubicBezTo>
                        <a:pt x="1480" y="4"/>
                        <a:pt x="1475" y="0"/>
                        <a:pt x="1470" y="0"/>
                      </a:cubicBezTo>
                      <a:cubicBezTo>
                        <a:pt x="1307" y="0"/>
                        <a:pt x="1307" y="0"/>
                        <a:pt x="1307" y="0"/>
                      </a:cubicBezTo>
                      <a:cubicBezTo>
                        <a:pt x="1302" y="0"/>
                        <a:pt x="1297" y="5"/>
                        <a:pt x="1298" y="11"/>
                      </a:cubicBezTo>
                      <a:cubicBezTo>
                        <a:pt x="1313" y="174"/>
                        <a:pt x="1313" y="174"/>
                        <a:pt x="1313" y="174"/>
                      </a:cubicBezTo>
                      <a:cubicBezTo>
                        <a:pt x="1314" y="179"/>
                        <a:pt x="1318" y="183"/>
                        <a:pt x="1323" y="183"/>
                      </a:cubicBezTo>
                      <a:cubicBezTo>
                        <a:pt x="1491" y="183"/>
                        <a:pt x="1491" y="183"/>
                        <a:pt x="1491" y="183"/>
                      </a:cubicBezTo>
                      <a:cubicBezTo>
                        <a:pt x="1497" y="183"/>
                        <a:pt x="1502" y="178"/>
                        <a:pt x="1501" y="172"/>
                      </a:cubicBezTo>
                      <a:close/>
                      <a:moveTo>
                        <a:pt x="1536" y="439"/>
                      </a:moveTo>
                      <a:cubicBezTo>
                        <a:pt x="1512" y="258"/>
                        <a:pt x="1512" y="258"/>
                        <a:pt x="1512" y="258"/>
                      </a:cubicBezTo>
                      <a:cubicBezTo>
                        <a:pt x="1512" y="253"/>
                        <a:pt x="1508" y="249"/>
                        <a:pt x="1503" y="249"/>
                      </a:cubicBezTo>
                      <a:cubicBezTo>
                        <a:pt x="1331" y="249"/>
                        <a:pt x="1331" y="249"/>
                        <a:pt x="1331" y="249"/>
                      </a:cubicBezTo>
                      <a:cubicBezTo>
                        <a:pt x="1325" y="249"/>
                        <a:pt x="1321" y="254"/>
                        <a:pt x="1321" y="260"/>
                      </a:cubicBezTo>
                      <a:cubicBezTo>
                        <a:pt x="1339" y="441"/>
                        <a:pt x="1339" y="441"/>
                        <a:pt x="1339" y="441"/>
                      </a:cubicBezTo>
                      <a:cubicBezTo>
                        <a:pt x="1339" y="446"/>
                        <a:pt x="1343" y="450"/>
                        <a:pt x="1349" y="450"/>
                      </a:cubicBezTo>
                      <a:cubicBezTo>
                        <a:pt x="1526" y="450"/>
                        <a:pt x="1526" y="450"/>
                        <a:pt x="1526" y="450"/>
                      </a:cubicBezTo>
                      <a:cubicBezTo>
                        <a:pt x="1532" y="450"/>
                        <a:pt x="1537" y="445"/>
                        <a:pt x="1536" y="439"/>
                      </a:cubicBezTo>
                      <a:close/>
                      <a:moveTo>
                        <a:pt x="1574" y="733"/>
                      </a:moveTo>
                      <a:cubicBezTo>
                        <a:pt x="1548" y="532"/>
                        <a:pt x="1548" y="532"/>
                        <a:pt x="1548" y="532"/>
                      </a:cubicBezTo>
                      <a:cubicBezTo>
                        <a:pt x="1547" y="527"/>
                        <a:pt x="1543" y="523"/>
                        <a:pt x="1538" y="523"/>
                      </a:cubicBezTo>
                      <a:cubicBezTo>
                        <a:pt x="1357" y="523"/>
                        <a:pt x="1357" y="523"/>
                        <a:pt x="1357" y="523"/>
                      </a:cubicBezTo>
                      <a:cubicBezTo>
                        <a:pt x="1351" y="523"/>
                        <a:pt x="1347" y="528"/>
                        <a:pt x="1347" y="534"/>
                      </a:cubicBezTo>
                      <a:cubicBezTo>
                        <a:pt x="1367" y="735"/>
                        <a:pt x="1367" y="735"/>
                        <a:pt x="1367" y="735"/>
                      </a:cubicBezTo>
                      <a:cubicBezTo>
                        <a:pt x="1367" y="741"/>
                        <a:pt x="1371" y="744"/>
                        <a:pt x="1377" y="744"/>
                      </a:cubicBezTo>
                      <a:cubicBezTo>
                        <a:pt x="1564" y="744"/>
                        <a:pt x="1564" y="744"/>
                        <a:pt x="1564" y="744"/>
                      </a:cubicBezTo>
                      <a:cubicBezTo>
                        <a:pt x="1570" y="744"/>
                        <a:pt x="1575" y="739"/>
                        <a:pt x="1574" y="73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32" name="Freeform 16">
                  <a:extLst>
                    <a:ext uri="{FF2B5EF4-FFF2-40B4-BE49-F238E27FC236}">
                      <a16:creationId xmlns:a16="http://schemas.microsoft.com/office/drawing/2014/main" id="{55D7F826-787A-8C5B-623B-CFBD2AC1DC8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8106" y="3007614"/>
                  <a:ext cx="1337310" cy="933450"/>
                </a:xfrm>
                <a:custGeom>
                  <a:avLst/>
                  <a:gdLst>
                    <a:gd name="T0" fmla="*/ 1873 w 1874"/>
                    <a:gd name="T1" fmla="*/ 1010 h 1307"/>
                    <a:gd name="T2" fmla="*/ 1728 w 1874"/>
                    <a:gd name="T3" fmla="*/ 19 h 1307"/>
                    <a:gd name="T4" fmla="*/ 1706 w 1874"/>
                    <a:gd name="T5" fmla="*/ 0 h 1307"/>
                    <a:gd name="T6" fmla="*/ 168 w 1874"/>
                    <a:gd name="T7" fmla="*/ 0 h 1307"/>
                    <a:gd name="T8" fmla="*/ 146 w 1874"/>
                    <a:gd name="T9" fmla="*/ 19 h 1307"/>
                    <a:gd name="T10" fmla="*/ 1 w 1874"/>
                    <a:gd name="T11" fmla="*/ 1010 h 1307"/>
                    <a:gd name="T12" fmla="*/ 6 w 1874"/>
                    <a:gd name="T13" fmla="*/ 1027 h 1307"/>
                    <a:gd name="T14" fmla="*/ 23 w 1874"/>
                    <a:gd name="T15" fmla="*/ 1035 h 1307"/>
                    <a:gd name="T16" fmla="*/ 855 w 1874"/>
                    <a:gd name="T17" fmla="*/ 1035 h 1307"/>
                    <a:gd name="T18" fmla="*/ 855 w 1874"/>
                    <a:gd name="T19" fmla="*/ 1037 h 1307"/>
                    <a:gd name="T20" fmla="*/ 855 w 1874"/>
                    <a:gd name="T21" fmla="*/ 1307 h 1307"/>
                    <a:gd name="T22" fmla="*/ 899 w 1874"/>
                    <a:gd name="T23" fmla="*/ 1307 h 1307"/>
                    <a:gd name="T24" fmla="*/ 899 w 1874"/>
                    <a:gd name="T25" fmla="*/ 1037 h 1307"/>
                    <a:gd name="T26" fmla="*/ 899 w 1874"/>
                    <a:gd name="T27" fmla="*/ 1035 h 1307"/>
                    <a:gd name="T28" fmla="*/ 975 w 1874"/>
                    <a:gd name="T29" fmla="*/ 1035 h 1307"/>
                    <a:gd name="T30" fmla="*/ 975 w 1874"/>
                    <a:gd name="T31" fmla="*/ 1037 h 1307"/>
                    <a:gd name="T32" fmla="*/ 975 w 1874"/>
                    <a:gd name="T33" fmla="*/ 1307 h 1307"/>
                    <a:gd name="T34" fmla="*/ 1019 w 1874"/>
                    <a:gd name="T35" fmla="*/ 1307 h 1307"/>
                    <a:gd name="T36" fmla="*/ 1019 w 1874"/>
                    <a:gd name="T37" fmla="*/ 1037 h 1307"/>
                    <a:gd name="T38" fmla="*/ 1019 w 1874"/>
                    <a:gd name="T39" fmla="*/ 1035 h 1307"/>
                    <a:gd name="T40" fmla="*/ 1851 w 1874"/>
                    <a:gd name="T41" fmla="*/ 1035 h 1307"/>
                    <a:gd name="T42" fmla="*/ 1868 w 1874"/>
                    <a:gd name="T43" fmla="*/ 1027 h 1307"/>
                    <a:gd name="T44" fmla="*/ 1873 w 1874"/>
                    <a:gd name="T45" fmla="*/ 1010 h 1307"/>
                    <a:gd name="T46" fmla="*/ 48 w 1874"/>
                    <a:gd name="T47" fmla="*/ 991 h 1307"/>
                    <a:gd name="T48" fmla="*/ 187 w 1874"/>
                    <a:gd name="T49" fmla="*/ 44 h 1307"/>
                    <a:gd name="T50" fmla="*/ 1687 w 1874"/>
                    <a:gd name="T51" fmla="*/ 44 h 1307"/>
                    <a:gd name="T52" fmla="*/ 1826 w 1874"/>
                    <a:gd name="T53" fmla="*/ 991 h 1307"/>
                    <a:gd name="T54" fmla="*/ 48 w 1874"/>
                    <a:gd name="T55" fmla="*/ 991 h 1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874" h="1307">
                      <a:moveTo>
                        <a:pt x="1873" y="1010"/>
                      </a:moveTo>
                      <a:cubicBezTo>
                        <a:pt x="1728" y="19"/>
                        <a:pt x="1728" y="19"/>
                        <a:pt x="1728" y="19"/>
                      </a:cubicBezTo>
                      <a:cubicBezTo>
                        <a:pt x="1727" y="8"/>
                        <a:pt x="1717" y="0"/>
                        <a:pt x="1706" y="0"/>
                      </a:cubicBez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7" y="0"/>
                        <a:pt x="147" y="8"/>
                        <a:pt x="146" y="19"/>
                      </a:cubicBezTo>
                      <a:cubicBezTo>
                        <a:pt x="1" y="1010"/>
                        <a:pt x="1" y="1010"/>
                        <a:pt x="1" y="1010"/>
                      </a:cubicBezTo>
                      <a:cubicBezTo>
                        <a:pt x="0" y="1016"/>
                        <a:pt x="2" y="1023"/>
                        <a:pt x="6" y="1027"/>
                      </a:cubicBezTo>
                      <a:cubicBezTo>
                        <a:pt x="11" y="1032"/>
                        <a:pt x="17" y="1035"/>
                        <a:pt x="23" y="1035"/>
                      </a:cubicBezTo>
                      <a:cubicBezTo>
                        <a:pt x="855" y="1035"/>
                        <a:pt x="855" y="1035"/>
                        <a:pt x="855" y="1035"/>
                      </a:cubicBezTo>
                      <a:cubicBezTo>
                        <a:pt x="855" y="1036"/>
                        <a:pt x="855" y="1036"/>
                        <a:pt x="855" y="1037"/>
                      </a:cubicBezTo>
                      <a:cubicBezTo>
                        <a:pt x="855" y="1307"/>
                        <a:pt x="855" y="1307"/>
                        <a:pt x="855" y="1307"/>
                      </a:cubicBezTo>
                      <a:cubicBezTo>
                        <a:pt x="899" y="1307"/>
                        <a:pt x="899" y="1307"/>
                        <a:pt x="899" y="1307"/>
                      </a:cubicBezTo>
                      <a:cubicBezTo>
                        <a:pt x="899" y="1037"/>
                        <a:pt x="899" y="1037"/>
                        <a:pt x="899" y="1037"/>
                      </a:cubicBezTo>
                      <a:cubicBezTo>
                        <a:pt x="899" y="1036"/>
                        <a:pt x="899" y="1036"/>
                        <a:pt x="899" y="1035"/>
                      </a:cubicBezTo>
                      <a:cubicBezTo>
                        <a:pt x="975" y="1035"/>
                        <a:pt x="975" y="1035"/>
                        <a:pt x="975" y="1035"/>
                      </a:cubicBezTo>
                      <a:cubicBezTo>
                        <a:pt x="975" y="1036"/>
                        <a:pt x="975" y="1036"/>
                        <a:pt x="975" y="1037"/>
                      </a:cubicBezTo>
                      <a:cubicBezTo>
                        <a:pt x="975" y="1307"/>
                        <a:pt x="975" y="1307"/>
                        <a:pt x="975" y="1307"/>
                      </a:cubicBezTo>
                      <a:cubicBezTo>
                        <a:pt x="1019" y="1307"/>
                        <a:pt x="1019" y="1307"/>
                        <a:pt x="1019" y="1307"/>
                      </a:cubicBezTo>
                      <a:cubicBezTo>
                        <a:pt x="1019" y="1037"/>
                        <a:pt x="1019" y="1037"/>
                        <a:pt x="1019" y="1037"/>
                      </a:cubicBezTo>
                      <a:cubicBezTo>
                        <a:pt x="1019" y="1036"/>
                        <a:pt x="1019" y="1036"/>
                        <a:pt x="1019" y="1035"/>
                      </a:cubicBezTo>
                      <a:cubicBezTo>
                        <a:pt x="1851" y="1035"/>
                        <a:pt x="1851" y="1035"/>
                        <a:pt x="1851" y="1035"/>
                      </a:cubicBezTo>
                      <a:cubicBezTo>
                        <a:pt x="1857" y="1035"/>
                        <a:pt x="1863" y="1032"/>
                        <a:pt x="1868" y="1027"/>
                      </a:cubicBezTo>
                      <a:cubicBezTo>
                        <a:pt x="1872" y="1023"/>
                        <a:pt x="1874" y="1016"/>
                        <a:pt x="1873" y="1010"/>
                      </a:cubicBezTo>
                      <a:close/>
                      <a:moveTo>
                        <a:pt x="48" y="991"/>
                      </a:moveTo>
                      <a:cubicBezTo>
                        <a:pt x="187" y="44"/>
                        <a:pt x="187" y="44"/>
                        <a:pt x="187" y="44"/>
                      </a:cubicBezTo>
                      <a:cubicBezTo>
                        <a:pt x="1687" y="44"/>
                        <a:pt x="1687" y="44"/>
                        <a:pt x="1687" y="44"/>
                      </a:cubicBezTo>
                      <a:cubicBezTo>
                        <a:pt x="1826" y="991"/>
                        <a:pt x="1826" y="991"/>
                        <a:pt x="1826" y="991"/>
                      </a:cubicBezTo>
                      <a:lnTo>
                        <a:pt x="48" y="99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B5BE5D75-BCC7-D748-AB50-ABDED6926E1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64121" y="5237217"/>
              <a:ext cx="454733" cy="470667"/>
              <a:chOff x="5273801" y="2606040"/>
              <a:chExt cx="1644396" cy="1645920"/>
            </a:xfrm>
          </p:grpSpPr>
          <p:sp>
            <p:nvSpPr>
              <p:cNvPr id="118" name="AutoShape 13">
                <a:extLst>
                  <a:ext uri="{FF2B5EF4-FFF2-40B4-BE49-F238E27FC236}">
                    <a16:creationId xmlns:a16="http://schemas.microsoft.com/office/drawing/2014/main" id="{8F81DADA-83FB-C5A5-88D2-ED51CBF4ED8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7176FD71-58A1-A999-3ECD-6C5041451C2D}"/>
                  </a:ext>
                </a:extLst>
              </p:cNvPr>
              <p:cNvGrpSpPr/>
              <p:nvPr/>
            </p:nvGrpSpPr>
            <p:grpSpPr>
              <a:xfrm>
                <a:off x="5428106" y="3007614"/>
                <a:ext cx="1337310" cy="1122807"/>
                <a:chOff x="5428106" y="3007614"/>
                <a:chExt cx="1337310" cy="1122807"/>
              </a:xfrm>
            </p:grpSpPr>
            <p:sp>
              <p:nvSpPr>
                <p:cNvPr id="120" name="Freeform 15">
                  <a:extLst>
                    <a:ext uri="{FF2B5EF4-FFF2-40B4-BE49-F238E27FC236}">
                      <a16:creationId xmlns:a16="http://schemas.microsoft.com/office/drawing/2014/main" id="{77EC80EB-FD57-5217-3F4D-ECEAF9CD0C0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7072" y="3098292"/>
                  <a:ext cx="1124331" cy="1032129"/>
                </a:xfrm>
                <a:custGeom>
                  <a:avLst/>
                  <a:gdLst>
                    <a:gd name="T0" fmla="*/ 1216 w 1575"/>
                    <a:gd name="T1" fmla="*/ 1445 h 1445"/>
                    <a:gd name="T2" fmla="*/ 328 w 1575"/>
                    <a:gd name="T3" fmla="*/ 1315 h 1445"/>
                    <a:gd name="T4" fmla="*/ 405 w 1575"/>
                    <a:gd name="T5" fmla="*/ 1250 h 1445"/>
                    <a:gd name="T6" fmla="*/ 1161 w 1575"/>
                    <a:gd name="T7" fmla="*/ 1250 h 1445"/>
                    <a:gd name="T8" fmla="*/ 1239 w 1575"/>
                    <a:gd name="T9" fmla="*/ 1315 h 1445"/>
                    <a:gd name="T10" fmla="*/ 266 w 1575"/>
                    <a:gd name="T11" fmla="*/ 0 h 1445"/>
                    <a:gd name="T12" fmla="*/ 72 w 1575"/>
                    <a:gd name="T13" fmla="*/ 172 h 1445"/>
                    <a:gd name="T14" fmla="*/ 260 w 1575"/>
                    <a:gd name="T15" fmla="*/ 174 h 1445"/>
                    <a:gd name="T16" fmla="*/ 242 w 1575"/>
                    <a:gd name="T17" fmla="*/ 249 h 1445"/>
                    <a:gd name="T18" fmla="*/ 38 w 1575"/>
                    <a:gd name="T19" fmla="*/ 439 h 1445"/>
                    <a:gd name="T20" fmla="*/ 235 w 1575"/>
                    <a:gd name="T21" fmla="*/ 441 h 1445"/>
                    <a:gd name="T22" fmla="*/ 217 w 1575"/>
                    <a:gd name="T23" fmla="*/ 523 h 1445"/>
                    <a:gd name="T24" fmla="*/ 0 w 1575"/>
                    <a:gd name="T25" fmla="*/ 733 h 1445"/>
                    <a:gd name="T26" fmla="*/ 208 w 1575"/>
                    <a:gd name="T27" fmla="*/ 735 h 1445"/>
                    <a:gd name="T28" fmla="*/ 507 w 1575"/>
                    <a:gd name="T29" fmla="*/ 0 h 1445"/>
                    <a:gd name="T30" fmla="*/ 320 w 1575"/>
                    <a:gd name="T31" fmla="*/ 173 h 1445"/>
                    <a:gd name="T32" fmla="*/ 509 w 1575"/>
                    <a:gd name="T33" fmla="*/ 174 h 1445"/>
                    <a:gd name="T34" fmla="*/ 494 w 1575"/>
                    <a:gd name="T35" fmla="*/ 249 h 1445"/>
                    <a:gd name="T36" fmla="*/ 298 w 1575"/>
                    <a:gd name="T37" fmla="*/ 440 h 1445"/>
                    <a:gd name="T38" fmla="*/ 495 w 1575"/>
                    <a:gd name="T39" fmla="*/ 441 h 1445"/>
                    <a:gd name="T40" fmla="*/ 481 w 1575"/>
                    <a:gd name="T41" fmla="*/ 523 h 1445"/>
                    <a:gd name="T42" fmla="*/ 273 w 1575"/>
                    <a:gd name="T43" fmla="*/ 734 h 1445"/>
                    <a:gd name="T44" fmla="*/ 481 w 1575"/>
                    <a:gd name="T45" fmla="*/ 735 h 1445"/>
                    <a:gd name="T46" fmla="*/ 748 w 1575"/>
                    <a:gd name="T47" fmla="*/ 0 h 1445"/>
                    <a:gd name="T48" fmla="*/ 569 w 1575"/>
                    <a:gd name="T49" fmla="*/ 173 h 1445"/>
                    <a:gd name="T50" fmla="*/ 757 w 1575"/>
                    <a:gd name="T51" fmla="*/ 173 h 1445"/>
                    <a:gd name="T52" fmla="*/ 747 w 1575"/>
                    <a:gd name="T53" fmla="*/ 249 h 1445"/>
                    <a:gd name="T54" fmla="*/ 558 w 1575"/>
                    <a:gd name="T55" fmla="*/ 440 h 1445"/>
                    <a:gd name="T56" fmla="*/ 756 w 1575"/>
                    <a:gd name="T57" fmla="*/ 440 h 1445"/>
                    <a:gd name="T58" fmla="*/ 745 w 1575"/>
                    <a:gd name="T59" fmla="*/ 523 h 1445"/>
                    <a:gd name="T60" fmla="*/ 547 w 1575"/>
                    <a:gd name="T61" fmla="*/ 734 h 1445"/>
                    <a:gd name="T62" fmla="*/ 754 w 1575"/>
                    <a:gd name="T63" fmla="*/ 734 h 1445"/>
                    <a:gd name="T64" fmla="*/ 989 w 1575"/>
                    <a:gd name="T65" fmla="*/ 0 h 1445"/>
                    <a:gd name="T66" fmla="*/ 817 w 1575"/>
                    <a:gd name="T67" fmla="*/ 173 h 1445"/>
                    <a:gd name="T68" fmla="*/ 1005 w 1575"/>
                    <a:gd name="T69" fmla="*/ 173 h 1445"/>
                    <a:gd name="T70" fmla="*/ 999 w 1575"/>
                    <a:gd name="T71" fmla="*/ 249 h 1445"/>
                    <a:gd name="T72" fmla="*/ 818 w 1575"/>
                    <a:gd name="T73" fmla="*/ 440 h 1445"/>
                    <a:gd name="T74" fmla="*/ 1016 w 1575"/>
                    <a:gd name="T75" fmla="*/ 440 h 1445"/>
                    <a:gd name="T76" fmla="*/ 1009 w 1575"/>
                    <a:gd name="T77" fmla="*/ 523 h 1445"/>
                    <a:gd name="T78" fmla="*/ 820 w 1575"/>
                    <a:gd name="T79" fmla="*/ 734 h 1445"/>
                    <a:gd name="T80" fmla="*/ 1027 w 1575"/>
                    <a:gd name="T81" fmla="*/ 734 h 1445"/>
                    <a:gd name="T82" fmla="*/ 1229 w 1575"/>
                    <a:gd name="T83" fmla="*/ 0 h 1445"/>
                    <a:gd name="T84" fmla="*/ 1065 w 1575"/>
                    <a:gd name="T85" fmla="*/ 174 h 1445"/>
                    <a:gd name="T86" fmla="*/ 1253 w 1575"/>
                    <a:gd name="T87" fmla="*/ 173 h 1445"/>
                    <a:gd name="T88" fmla="*/ 1251 w 1575"/>
                    <a:gd name="T89" fmla="*/ 249 h 1445"/>
                    <a:gd name="T90" fmla="*/ 1078 w 1575"/>
                    <a:gd name="T91" fmla="*/ 441 h 1445"/>
                    <a:gd name="T92" fmla="*/ 1276 w 1575"/>
                    <a:gd name="T93" fmla="*/ 440 h 1445"/>
                    <a:gd name="T94" fmla="*/ 1274 w 1575"/>
                    <a:gd name="T95" fmla="*/ 523 h 1445"/>
                    <a:gd name="T96" fmla="*/ 1093 w 1575"/>
                    <a:gd name="T97" fmla="*/ 735 h 1445"/>
                    <a:gd name="T98" fmla="*/ 1301 w 1575"/>
                    <a:gd name="T99" fmla="*/ 734 h 1445"/>
                    <a:gd name="T100" fmla="*/ 1470 w 1575"/>
                    <a:gd name="T101" fmla="*/ 0 h 1445"/>
                    <a:gd name="T102" fmla="*/ 1313 w 1575"/>
                    <a:gd name="T103" fmla="*/ 174 h 1445"/>
                    <a:gd name="T104" fmla="*/ 1501 w 1575"/>
                    <a:gd name="T105" fmla="*/ 172 h 1445"/>
                    <a:gd name="T106" fmla="*/ 1503 w 1575"/>
                    <a:gd name="T107" fmla="*/ 249 h 1445"/>
                    <a:gd name="T108" fmla="*/ 1339 w 1575"/>
                    <a:gd name="T109" fmla="*/ 441 h 1445"/>
                    <a:gd name="T110" fmla="*/ 1536 w 1575"/>
                    <a:gd name="T111" fmla="*/ 439 h 1445"/>
                    <a:gd name="T112" fmla="*/ 1538 w 1575"/>
                    <a:gd name="T113" fmla="*/ 523 h 1445"/>
                    <a:gd name="T114" fmla="*/ 1367 w 1575"/>
                    <a:gd name="T115" fmla="*/ 735 h 1445"/>
                    <a:gd name="T116" fmla="*/ 1574 w 1575"/>
                    <a:gd name="T117" fmla="*/ 733 h 1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75" h="1445">
                      <a:moveTo>
                        <a:pt x="1239" y="1315"/>
                      </a:moveTo>
                      <a:cubicBezTo>
                        <a:pt x="1239" y="1422"/>
                        <a:pt x="1239" y="1422"/>
                        <a:pt x="1239" y="1422"/>
                      </a:cubicBezTo>
                      <a:cubicBezTo>
                        <a:pt x="1239" y="1434"/>
                        <a:pt x="1228" y="1445"/>
                        <a:pt x="1216" y="1445"/>
                      </a:cubicBezTo>
                      <a:cubicBezTo>
                        <a:pt x="351" y="1445"/>
                        <a:pt x="351" y="1445"/>
                        <a:pt x="351" y="1445"/>
                      </a:cubicBezTo>
                      <a:cubicBezTo>
                        <a:pt x="338" y="1445"/>
                        <a:pt x="328" y="1434"/>
                        <a:pt x="328" y="1422"/>
                      </a:cubicBezTo>
                      <a:cubicBezTo>
                        <a:pt x="328" y="1315"/>
                        <a:pt x="328" y="1315"/>
                        <a:pt x="328" y="1315"/>
                      </a:cubicBezTo>
                      <a:cubicBezTo>
                        <a:pt x="328" y="1303"/>
                        <a:pt x="338" y="1292"/>
                        <a:pt x="351" y="1292"/>
                      </a:cubicBezTo>
                      <a:cubicBezTo>
                        <a:pt x="405" y="1292"/>
                        <a:pt x="405" y="1292"/>
                        <a:pt x="405" y="1292"/>
                      </a:cubicBezTo>
                      <a:cubicBezTo>
                        <a:pt x="405" y="1250"/>
                        <a:pt x="405" y="1250"/>
                        <a:pt x="405" y="1250"/>
                      </a:cubicBezTo>
                      <a:cubicBezTo>
                        <a:pt x="405" y="1237"/>
                        <a:pt x="415" y="1227"/>
                        <a:pt x="428" y="1227"/>
                      </a:cubicBezTo>
                      <a:cubicBezTo>
                        <a:pt x="1138" y="1227"/>
                        <a:pt x="1138" y="1227"/>
                        <a:pt x="1138" y="1227"/>
                      </a:cubicBezTo>
                      <a:cubicBezTo>
                        <a:pt x="1151" y="1227"/>
                        <a:pt x="1161" y="1237"/>
                        <a:pt x="1161" y="1250"/>
                      </a:cubicBezTo>
                      <a:cubicBezTo>
                        <a:pt x="1161" y="1292"/>
                        <a:pt x="1161" y="1292"/>
                        <a:pt x="1161" y="1292"/>
                      </a:cubicBezTo>
                      <a:cubicBezTo>
                        <a:pt x="1216" y="1292"/>
                        <a:pt x="1216" y="1292"/>
                        <a:pt x="1216" y="1292"/>
                      </a:cubicBezTo>
                      <a:cubicBezTo>
                        <a:pt x="1228" y="1292"/>
                        <a:pt x="1239" y="1303"/>
                        <a:pt x="1239" y="1315"/>
                      </a:cubicBezTo>
                      <a:close/>
                      <a:moveTo>
                        <a:pt x="260" y="174"/>
                      </a:moveTo>
                      <a:cubicBezTo>
                        <a:pt x="276" y="11"/>
                        <a:pt x="276" y="11"/>
                        <a:pt x="276" y="11"/>
                      </a:cubicBezTo>
                      <a:cubicBezTo>
                        <a:pt x="276" y="5"/>
                        <a:pt x="272" y="0"/>
                        <a:pt x="266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98" y="0"/>
                        <a:pt x="94" y="4"/>
                        <a:pt x="93" y="9"/>
                      </a:cubicBezTo>
                      <a:cubicBezTo>
                        <a:pt x="72" y="172"/>
                        <a:pt x="72" y="172"/>
                        <a:pt x="72" y="172"/>
                      </a:cubicBezTo>
                      <a:cubicBezTo>
                        <a:pt x="72" y="178"/>
                        <a:pt x="76" y="183"/>
                        <a:pt x="82" y="183"/>
                      </a:cubicBezTo>
                      <a:cubicBezTo>
                        <a:pt x="251" y="183"/>
                        <a:pt x="251" y="183"/>
                        <a:pt x="251" y="183"/>
                      </a:cubicBezTo>
                      <a:cubicBezTo>
                        <a:pt x="256" y="183"/>
                        <a:pt x="260" y="179"/>
                        <a:pt x="260" y="174"/>
                      </a:cubicBezTo>
                      <a:close/>
                      <a:moveTo>
                        <a:pt x="235" y="441"/>
                      </a:moveTo>
                      <a:cubicBezTo>
                        <a:pt x="252" y="260"/>
                        <a:pt x="252" y="260"/>
                        <a:pt x="252" y="260"/>
                      </a:cubicBezTo>
                      <a:cubicBezTo>
                        <a:pt x="253" y="254"/>
                        <a:pt x="248" y="249"/>
                        <a:pt x="242" y="249"/>
                      </a:cubicBezTo>
                      <a:cubicBezTo>
                        <a:pt x="71" y="249"/>
                        <a:pt x="71" y="249"/>
                        <a:pt x="71" y="249"/>
                      </a:cubicBezTo>
                      <a:cubicBezTo>
                        <a:pt x="66" y="249"/>
                        <a:pt x="62" y="253"/>
                        <a:pt x="61" y="258"/>
                      </a:cubicBezTo>
                      <a:cubicBezTo>
                        <a:pt x="38" y="439"/>
                        <a:pt x="38" y="439"/>
                        <a:pt x="38" y="439"/>
                      </a:cubicBezTo>
                      <a:cubicBezTo>
                        <a:pt x="37" y="445"/>
                        <a:pt x="42" y="450"/>
                        <a:pt x="48" y="450"/>
                      </a:cubicBezTo>
                      <a:cubicBezTo>
                        <a:pt x="225" y="450"/>
                        <a:pt x="225" y="450"/>
                        <a:pt x="225" y="450"/>
                      </a:cubicBezTo>
                      <a:cubicBezTo>
                        <a:pt x="230" y="450"/>
                        <a:pt x="235" y="446"/>
                        <a:pt x="235" y="441"/>
                      </a:cubicBezTo>
                      <a:close/>
                      <a:moveTo>
                        <a:pt x="208" y="735"/>
                      </a:moveTo>
                      <a:cubicBezTo>
                        <a:pt x="227" y="534"/>
                        <a:pt x="227" y="534"/>
                        <a:pt x="227" y="534"/>
                      </a:cubicBezTo>
                      <a:cubicBezTo>
                        <a:pt x="227" y="528"/>
                        <a:pt x="223" y="523"/>
                        <a:pt x="217" y="523"/>
                      </a:cubicBezTo>
                      <a:cubicBezTo>
                        <a:pt x="36" y="523"/>
                        <a:pt x="36" y="523"/>
                        <a:pt x="36" y="523"/>
                      </a:cubicBezTo>
                      <a:cubicBezTo>
                        <a:pt x="31" y="523"/>
                        <a:pt x="27" y="527"/>
                        <a:pt x="26" y="532"/>
                      </a:cubicBezTo>
                      <a:cubicBezTo>
                        <a:pt x="0" y="733"/>
                        <a:pt x="0" y="733"/>
                        <a:pt x="0" y="733"/>
                      </a:cubicBezTo>
                      <a:cubicBezTo>
                        <a:pt x="0" y="739"/>
                        <a:pt x="4" y="744"/>
                        <a:pt x="10" y="744"/>
                      </a:cubicBezTo>
                      <a:cubicBezTo>
                        <a:pt x="198" y="744"/>
                        <a:pt x="198" y="744"/>
                        <a:pt x="198" y="744"/>
                      </a:cubicBezTo>
                      <a:cubicBezTo>
                        <a:pt x="203" y="744"/>
                        <a:pt x="207" y="741"/>
                        <a:pt x="208" y="735"/>
                      </a:cubicBezTo>
                      <a:close/>
                      <a:moveTo>
                        <a:pt x="509" y="174"/>
                      </a:moveTo>
                      <a:cubicBezTo>
                        <a:pt x="517" y="10"/>
                        <a:pt x="517" y="10"/>
                        <a:pt x="517" y="10"/>
                      </a:cubicBezTo>
                      <a:cubicBezTo>
                        <a:pt x="517" y="5"/>
                        <a:pt x="513" y="0"/>
                        <a:pt x="507" y="0"/>
                      </a:cubicBez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339" y="0"/>
                        <a:pt x="334" y="4"/>
                        <a:pt x="334" y="9"/>
                      </a:cubicBezTo>
                      <a:cubicBezTo>
                        <a:pt x="320" y="173"/>
                        <a:pt x="320" y="173"/>
                        <a:pt x="320" y="173"/>
                      </a:cubicBezTo>
                      <a:cubicBezTo>
                        <a:pt x="320" y="178"/>
                        <a:pt x="325" y="183"/>
                        <a:pt x="330" y="183"/>
                      </a:cubicBezTo>
                      <a:cubicBezTo>
                        <a:pt x="499" y="183"/>
                        <a:pt x="499" y="183"/>
                        <a:pt x="499" y="183"/>
                      </a:cubicBezTo>
                      <a:cubicBezTo>
                        <a:pt x="504" y="183"/>
                        <a:pt x="508" y="179"/>
                        <a:pt x="509" y="174"/>
                      </a:cubicBezTo>
                      <a:close/>
                      <a:moveTo>
                        <a:pt x="495" y="441"/>
                      </a:moveTo>
                      <a:cubicBezTo>
                        <a:pt x="504" y="260"/>
                        <a:pt x="504" y="260"/>
                        <a:pt x="504" y="260"/>
                      </a:cubicBezTo>
                      <a:cubicBezTo>
                        <a:pt x="505" y="254"/>
                        <a:pt x="500" y="249"/>
                        <a:pt x="494" y="249"/>
                      </a:cubicBezTo>
                      <a:cubicBezTo>
                        <a:pt x="323" y="249"/>
                        <a:pt x="323" y="249"/>
                        <a:pt x="323" y="249"/>
                      </a:cubicBezTo>
                      <a:cubicBezTo>
                        <a:pt x="318" y="249"/>
                        <a:pt x="314" y="253"/>
                        <a:pt x="313" y="258"/>
                      </a:cubicBezTo>
                      <a:cubicBezTo>
                        <a:pt x="298" y="440"/>
                        <a:pt x="298" y="440"/>
                        <a:pt x="298" y="440"/>
                      </a:cubicBezTo>
                      <a:cubicBezTo>
                        <a:pt x="298" y="445"/>
                        <a:pt x="302" y="450"/>
                        <a:pt x="308" y="450"/>
                      </a:cubicBezTo>
                      <a:cubicBezTo>
                        <a:pt x="485" y="450"/>
                        <a:pt x="485" y="450"/>
                        <a:pt x="485" y="450"/>
                      </a:cubicBezTo>
                      <a:cubicBezTo>
                        <a:pt x="491" y="450"/>
                        <a:pt x="495" y="446"/>
                        <a:pt x="495" y="441"/>
                      </a:cubicBezTo>
                      <a:close/>
                      <a:moveTo>
                        <a:pt x="481" y="735"/>
                      </a:moveTo>
                      <a:cubicBezTo>
                        <a:pt x="491" y="533"/>
                        <a:pt x="491" y="533"/>
                        <a:pt x="491" y="533"/>
                      </a:cubicBezTo>
                      <a:cubicBezTo>
                        <a:pt x="491" y="528"/>
                        <a:pt x="487" y="523"/>
                        <a:pt x="481" y="523"/>
                      </a:cubicBezTo>
                      <a:cubicBezTo>
                        <a:pt x="300" y="523"/>
                        <a:pt x="300" y="523"/>
                        <a:pt x="300" y="523"/>
                      </a:cubicBezTo>
                      <a:cubicBezTo>
                        <a:pt x="295" y="523"/>
                        <a:pt x="291" y="527"/>
                        <a:pt x="290" y="532"/>
                      </a:cubicBezTo>
                      <a:cubicBezTo>
                        <a:pt x="273" y="734"/>
                        <a:pt x="273" y="734"/>
                        <a:pt x="273" y="734"/>
                      </a:cubicBezTo>
                      <a:cubicBezTo>
                        <a:pt x="273" y="739"/>
                        <a:pt x="278" y="744"/>
                        <a:pt x="283" y="744"/>
                      </a:cubicBezTo>
                      <a:cubicBezTo>
                        <a:pt x="471" y="744"/>
                        <a:pt x="471" y="744"/>
                        <a:pt x="471" y="744"/>
                      </a:cubicBezTo>
                      <a:cubicBezTo>
                        <a:pt x="476" y="744"/>
                        <a:pt x="481" y="740"/>
                        <a:pt x="481" y="735"/>
                      </a:cubicBezTo>
                      <a:close/>
                      <a:moveTo>
                        <a:pt x="757" y="173"/>
                      </a:moveTo>
                      <a:cubicBezTo>
                        <a:pt x="758" y="10"/>
                        <a:pt x="758" y="10"/>
                        <a:pt x="758" y="10"/>
                      </a:cubicBezTo>
                      <a:cubicBezTo>
                        <a:pt x="758" y="4"/>
                        <a:pt x="753" y="0"/>
                        <a:pt x="748" y="0"/>
                      </a:cubicBezTo>
                      <a:cubicBezTo>
                        <a:pt x="585" y="0"/>
                        <a:pt x="585" y="0"/>
                        <a:pt x="585" y="0"/>
                      </a:cubicBezTo>
                      <a:cubicBezTo>
                        <a:pt x="579" y="0"/>
                        <a:pt x="575" y="4"/>
                        <a:pt x="575" y="10"/>
                      </a:cubicBezTo>
                      <a:cubicBezTo>
                        <a:pt x="569" y="173"/>
                        <a:pt x="569" y="173"/>
                        <a:pt x="569" y="173"/>
                      </a:cubicBezTo>
                      <a:cubicBezTo>
                        <a:pt x="568" y="179"/>
                        <a:pt x="573" y="183"/>
                        <a:pt x="579" y="183"/>
                      </a:cubicBezTo>
                      <a:cubicBezTo>
                        <a:pt x="747" y="183"/>
                        <a:pt x="747" y="183"/>
                        <a:pt x="747" y="183"/>
                      </a:cubicBezTo>
                      <a:cubicBezTo>
                        <a:pt x="752" y="183"/>
                        <a:pt x="757" y="179"/>
                        <a:pt x="757" y="173"/>
                      </a:cubicBezTo>
                      <a:close/>
                      <a:moveTo>
                        <a:pt x="756" y="440"/>
                      </a:moveTo>
                      <a:cubicBezTo>
                        <a:pt x="757" y="259"/>
                        <a:pt x="757" y="259"/>
                        <a:pt x="757" y="259"/>
                      </a:cubicBezTo>
                      <a:cubicBezTo>
                        <a:pt x="757" y="254"/>
                        <a:pt x="752" y="249"/>
                        <a:pt x="747" y="249"/>
                      </a:cubicBezTo>
                      <a:cubicBezTo>
                        <a:pt x="575" y="249"/>
                        <a:pt x="575" y="249"/>
                        <a:pt x="575" y="249"/>
                      </a:cubicBezTo>
                      <a:cubicBezTo>
                        <a:pt x="570" y="249"/>
                        <a:pt x="565" y="254"/>
                        <a:pt x="565" y="259"/>
                      </a:cubicBezTo>
                      <a:cubicBezTo>
                        <a:pt x="558" y="440"/>
                        <a:pt x="558" y="440"/>
                        <a:pt x="558" y="440"/>
                      </a:cubicBezTo>
                      <a:cubicBezTo>
                        <a:pt x="558" y="446"/>
                        <a:pt x="562" y="450"/>
                        <a:pt x="568" y="450"/>
                      </a:cubicBezTo>
                      <a:cubicBezTo>
                        <a:pt x="746" y="450"/>
                        <a:pt x="746" y="450"/>
                        <a:pt x="746" y="450"/>
                      </a:cubicBezTo>
                      <a:cubicBezTo>
                        <a:pt x="751" y="450"/>
                        <a:pt x="756" y="446"/>
                        <a:pt x="756" y="440"/>
                      </a:cubicBezTo>
                      <a:close/>
                      <a:moveTo>
                        <a:pt x="754" y="734"/>
                      </a:moveTo>
                      <a:cubicBezTo>
                        <a:pt x="755" y="533"/>
                        <a:pt x="755" y="533"/>
                        <a:pt x="755" y="533"/>
                      </a:cubicBezTo>
                      <a:cubicBezTo>
                        <a:pt x="755" y="527"/>
                        <a:pt x="751" y="523"/>
                        <a:pt x="745" y="523"/>
                      </a:cubicBezTo>
                      <a:cubicBezTo>
                        <a:pt x="565" y="523"/>
                        <a:pt x="565" y="523"/>
                        <a:pt x="565" y="523"/>
                      </a:cubicBezTo>
                      <a:cubicBezTo>
                        <a:pt x="559" y="523"/>
                        <a:pt x="555" y="527"/>
                        <a:pt x="555" y="532"/>
                      </a:cubicBezTo>
                      <a:cubicBezTo>
                        <a:pt x="547" y="734"/>
                        <a:pt x="547" y="734"/>
                        <a:pt x="547" y="734"/>
                      </a:cubicBezTo>
                      <a:cubicBezTo>
                        <a:pt x="546" y="740"/>
                        <a:pt x="551" y="744"/>
                        <a:pt x="557" y="744"/>
                      </a:cubicBezTo>
                      <a:cubicBezTo>
                        <a:pt x="744" y="744"/>
                        <a:pt x="744" y="744"/>
                        <a:pt x="744" y="744"/>
                      </a:cubicBezTo>
                      <a:cubicBezTo>
                        <a:pt x="750" y="744"/>
                        <a:pt x="754" y="740"/>
                        <a:pt x="754" y="734"/>
                      </a:cubicBezTo>
                      <a:close/>
                      <a:moveTo>
                        <a:pt x="1005" y="173"/>
                      </a:moveTo>
                      <a:cubicBezTo>
                        <a:pt x="999" y="10"/>
                        <a:pt x="999" y="10"/>
                        <a:pt x="999" y="10"/>
                      </a:cubicBezTo>
                      <a:cubicBezTo>
                        <a:pt x="998" y="4"/>
                        <a:pt x="994" y="0"/>
                        <a:pt x="989" y="0"/>
                      </a:cubicBezTo>
                      <a:cubicBezTo>
                        <a:pt x="826" y="0"/>
                        <a:pt x="826" y="0"/>
                        <a:pt x="826" y="0"/>
                      </a:cubicBezTo>
                      <a:cubicBezTo>
                        <a:pt x="820" y="0"/>
                        <a:pt x="816" y="4"/>
                        <a:pt x="816" y="10"/>
                      </a:cubicBezTo>
                      <a:cubicBezTo>
                        <a:pt x="817" y="173"/>
                        <a:pt x="817" y="173"/>
                        <a:pt x="817" y="173"/>
                      </a:cubicBezTo>
                      <a:cubicBezTo>
                        <a:pt x="817" y="179"/>
                        <a:pt x="821" y="183"/>
                        <a:pt x="827" y="183"/>
                      </a:cubicBezTo>
                      <a:cubicBezTo>
                        <a:pt x="995" y="183"/>
                        <a:pt x="995" y="183"/>
                        <a:pt x="995" y="183"/>
                      </a:cubicBezTo>
                      <a:cubicBezTo>
                        <a:pt x="1001" y="183"/>
                        <a:pt x="1005" y="179"/>
                        <a:pt x="1005" y="173"/>
                      </a:cubicBezTo>
                      <a:close/>
                      <a:moveTo>
                        <a:pt x="1016" y="440"/>
                      </a:moveTo>
                      <a:cubicBezTo>
                        <a:pt x="1009" y="259"/>
                        <a:pt x="1009" y="259"/>
                        <a:pt x="1009" y="259"/>
                      </a:cubicBezTo>
                      <a:cubicBezTo>
                        <a:pt x="1008" y="254"/>
                        <a:pt x="1004" y="249"/>
                        <a:pt x="999" y="249"/>
                      </a:cubicBezTo>
                      <a:cubicBezTo>
                        <a:pt x="827" y="249"/>
                        <a:pt x="827" y="249"/>
                        <a:pt x="827" y="249"/>
                      </a:cubicBezTo>
                      <a:cubicBezTo>
                        <a:pt x="822" y="249"/>
                        <a:pt x="817" y="254"/>
                        <a:pt x="817" y="259"/>
                      </a:cubicBezTo>
                      <a:cubicBezTo>
                        <a:pt x="818" y="440"/>
                        <a:pt x="818" y="440"/>
                        <a:pt x="818" y="440"/>
                      </a:cubicBezTo>
                      <a:cubicBezTo>
                        <a:pt x="818" y="446"/>
                        <a:pt x="823" y="450"/>
                        <a:pt x="828" y="450"/>
                      </a:cubicBezTo>
                      <a:cubicBezTo>
                        <a:pt x="1006" y="450"/>
                        <a:pt x="1006" y="450"/>
                        <a:pt x="1006" y="450"/>
                      </a:cubicBezTo>
                      <a:cubicBezTo>
                        <a:pt x="1011" y="450"/>
                        <a:pt x="1016" y="446"/>
                        <a:pt x="1016" y="440"/>
                      </a:cubicBezTo>
                      <a:close/>
                      <a:moveTo>
                        <a:pt x="1027" y="734"/>
                      </a:moveTo>
                      <a:cubicBezTo>
                        <a:pt x="1019" y="532"/>
                        <a:pt x="1019" y="532"/>
                        <a:pt x="1019" y="532"/>
                      </a:cubicBezTo>
                      <a:cubicBezTo>
                        <a:pt x="1019" y="527"/>
                        <a:pt x="1015" y="523"/>
                        <a:pt x="1009" y="523"/>
                      </a:cubicBezTo>
                      <a:cubicBezTo>
                        <a:pt x="829" y="523"/>
                        <a:pt x="829" y="523"/>
                        <a:pt x="829" y="523"/>
                      </a:cubicBezTo>
                      <a:cubicBezTo>
                        <a:pt x="823" y="523"/>
                        <a:pt x="819" y="527"/>
                        <a:pt x="819" y="533"/>
                      </a:cubicBezTo>
                      <a:cubicBezTo>
                        <a:pt x="820" y="734"/>
                        <a:pt x="820" y="734"/>
                        <a:pt x="820" y="734"/>
                      </a:cubicBezTo>
                      <a:cubicBezTo>
                        <a:pt x="820" y="740"/>
                        <a:pt x="824" y="744"/>
                        <a:pt x="830" y="744"/>
                      </a:cubicBezTo>
                      <a:cubicBezTo>
                        <a:pt x="1017" y="744"/>
                        <a:pt x="1017" y="744"/>
                        <a:pt x="1017" y="744"/>
                      </a:cubicBezTo>
                      <a:cubicBezTo>
                        <a:pt x="1023" y="744"/>
                        <a:pt x="1028" y="740"/>
                        <a:pt x="1027" y="734"/>
                      </a:cubicBezTo>
                      <a:close/>
                      <a:moveTo>
                        <a:pt x="1253" y="173"/>
                      </a:moveTo>
                      <a:cubicBezTo>
                        <a:pt x="1239" y="9"/>
                        <a:pt x="1239" y="9"/>
                        <a:pt x="1239" y="9"/>
                      </a:cubicBezTo>
                      <a:cubicBezTo>
                        <a:pt x="1239" y="4"/>
                        <a:pt x="1235" y="0"/>
                        <a:pt x="1229" y="0"/>
                      </a:cubicBezTo>
                      <a:cubicBezTo>
                        <a:pt x="1067" y="0"/>
                        <a:pt x="1067" y="0"/>
                        <a:pt x="1067" y="0"/>
                      </a:cubicBezTo>
                      <a:cubicBezTo>
                        <a:pt x="1061" y="0"/>
                        <a:pt x="1056" y="5"/>
                        <a:pt x="1057" y="10"/>
                      </a:cubicBezTo>
                      <a:cubicBezTo>
                        <a:pt x="1065" y="174"/>
                        <a:pt x="1065" y="174"/>
                        <a:pt x="1065" y="174"/>
                      </a:cubicBezTo>
                      <a:cubicBezTo>
                        <a:pt x="1065" y="179"/>
                        <a:pt x="1070" y="183"/>
                        <a:pt x="1075" y="183"/>
                      </a:cubicBezTo>
                      <a:cubicBezTo>
                        <a:pt x="1243" y="183"/>
                        <a:pt x="1243" y="183"/>
                        <a:pt x="1243" y="183"/>
                      </a:cubicBezTo>
                      <a:cubicBezTo>
                        <a:pt x="1249" y="183"/>
                        <a:pt x="1254" y="178"/>
                        <a:pt x="1253" y="173"/>
                      </a:cubicBezTo>
                      <a:close/>
                      <a:moveTo>
                        <a:pt x="1276" y="440"/>
                      </a:moveTo>
                      <a:cubicBezTo>
                        <a:pt x="1260" y="258"/>
                        <a:pt x="1260" y="258"/>
                        <a:pt x="1260" y="258"/>
                      </a:cubicBezTo>
                      <a:cubicBezTo>
                        <a:pt x="1260" y="253"/>
                        <a:pt x="1256" y="249"/>
                        <a:pt x="1251" y="249"/>
                      </a:cubicBezTo>
                      <a:cubicBezTo>
                        <a:pt x="1079" y="249"/>
                        <a:pt x="1079" y="249"/>
                        <a:pt x="1079" y="249"/>
                      </a:cubicBezTo>
                      <a:cubicBezTo>
                        <a:pt x="1073" y="249"/>
                        <a:pt x="1069" y="254"/>
                        <a:pt x="1069" y="260"/>
                      </a:cubicBezTo>
                      <a:cubicBezTo>
                        <a:pt x="1078" y="441"/>
                        <a:pt x="1078" y="441"/>
                        <a:pt x="1078" y="441"/>
                      </a:cubicBezTo>
                      <a:cubicBezTo>
                        <a:pt x="1079" y="446"/>
                        <a:pt x="1083" y="450"/>
                        <a:pt x="1088" y="450"/>
                      </a:cubicBezTo>
                      <a:cubicBezTo>
                        <a:pt x="1266" y="450"/>
                        <a:pt x="1266" y="450"/>
                        <a:pt x="1266" y="450"/>
                      </a:cubicBezTo>
                      <a:cubicBezTo>
                        <a:pt x="1272" y="450"/>
                        <a:pt x="1276" y="445"/>
                        <a:pt x="1276" y="440"/>
                      </a:cubicBezTo>
                      <a:close/>
                      <a:moveTo>
                        <a:pt x="1301" y="734"/>
                      </a:moveTo>
                      <a:cubicBezTo>
                        <a:pt x="1284" y="532"/>
                        <a:pt x="1284" y="532"/>
                        <a:pt x="1284" y="532"/>
                      </a:cubicBezTo>
                      <a:cubicBezTo>
                        <a:pt x="1283" y="527"/>
                        <a:pt x="1279" y="523"/>
                        <a:pt x="1274" y="523"/>
                      </a:cubicBezTo>
                      <a:cubicBezTo>
                        <a:pt x="1093" y="523"/>
                        <a:pt x="1093" y="523"/>
                        <a:pt x="1093" y="523"/>
                      </a:cubicBezTo>
                      <a:cubicBezTo>
                        <a:pt x="1087" y="523"/>
                        <a:pt x="1083" y="528"/>
                        <a:pt x="1083" y="533"/>
                      </a:cubicBezTo>
                      <a:cubicBezTo>
                        <a:pt x="1093" y="735"/>
                        <a:pt x="1093" y="735"/>
                        <a:pt x="1093" y="735"/>
                      </a:cubicBezTo>
                      <a:cubicBezTo>
                        <a:pt x="1094" y="740"/>
                        <a:pt x="1098" y="744"/>
                        <a:pt x="1103" y="744"/>
                      </a:cubicBezTo>
                      <a:cubicBezTo>
                        <a:pt x="1291" y="744"/>
                        <a:pt x="1291" y="744"/>
                        <a:pt x="1291" y="744"/>
                      </a:cubicBezTo>
                      <a:cubicBezTo>
                        <a:pt x="1297" y="744"/>
                        <a:pt x="1301" y="739"/>
                        <a:pt x="1301" y="734"/>
                      </a:cubicBezTo>
                      <a:close/>
                      <a:moveTo>
                        <a:pt x="1501" y="172"/>
                      </a:moveTo>
                      <a:cubicBezTo>
                        <a:pt x="1480" y="9"/>
                        <a:pt x="1480" y="9"/>
                        <a:pt x="1480" y="9"/>
                      </a:cubicBezTo>
                      <a:cubicBezTo>
                        <a:pt x="1480" y="4"/>
                        <a:pt x="1475" y="0"/>
                        <a:pt x="1470" y="0"/>
                      </a:cubicBezTo>
                      <a:cubicBezTo>
                        <a:pt x="1307" y="0"/>
                        <a:pt x="1307" y="0"/>
                        <a:pt x="1307" y="0"/>
                      </a:cubicBezTo>
                      <a:cubicBezTo>
                        <a:pt x="1302" y="0"/>
                        <a:pt x="1297" y="5"/>
                        <a:pt x="1298" y="11"/>
                      </a:cubicBezTo>
                      <a:cubicBezTo>
                        <a:pt x="1313" y="174"/>
                        <a:pt x="1313" y="174"/>
                        <a:pt x="1313" y="174"/>
                      </a:cubicBezTo>
                      <a:cubicBezTo>
                        <a:pt x="1314" y="179"/>
                        <a:pt x="1318" y="183"/>
                        <a:pt x="1323" y="183"/>
                      </a:cubicBezTo>
                      <a:cubicBezTo>
                        <a:pt x="1491" y="183"/>
                        <a:pt x="1491" y="183"/>
                        <a:pt x="1491" y="183"/>
                      </a:cubicBezTo>
                      <a:cubicBezTo>
                        <a:pt x="1497" y="183"/>
                        <a:pt x="1502" y="178"/>
                        <a:pt x="1501" y="172"/>
                      </a:cubicBezTo>
                      <a:close/>
                      <a:moveTo>
                        <a:pt x="1536" y="439"/>
                      </a:moveTo>
                      <a:cubicBezTo>
                        <a:pt x="1512" y="258"/>
                        <a:pt x="1512" y="258"/>
                        <a:pt x="1512" y="258"/>
                      </a:cubicBezTo>
                      <a:cubicBezTo>
                        <a:pt x="1512" y="253"/>
                        <a:pt x="1508" y="249"/>
                        <a:pt x="1503" y="249"/>
                      </a:cubicBezTo>
                      <a:cubicBezTo>
                        <a:pt x="1331" y="249"/>
                        <a:pt x="1331" y="249"/>
                        <a:pt x="1331" y="249"/>
                      </a:cubicBezTo>
                      <a:cubicBezTo>
                        <a:pt x="1325" y="249"/>
                        <a:pt x="1321" y="254"/>
                        <a:pt x="1321" y="260"/>
                      </a:cubicBezTo>
                      <a:cubicBezTo>
                        <a:pt x="1339" y="441"/>
                        <a:pt x="1339" y="441"/>
                        <a:pt x="1339" y="441"/>
                      </a:cubicBezTo>
                      <a:cubicBezTo>
                        <a:pt x="1339" y="446"/>
                        <a:pt x="1343" y="450"/>
                        <a:pt x="1349" y="450"/>
                      </a:cubicBezTo>
                      <a:cubicBezTo>
                        <a:pt x="1526" y="450"/>
                        <a:pt x="1526" y="450"/>
                        <a:pt x="1526" y="450"/>
                      </a:cubicBezTo>
                      <a:cubicBezTo>
                        <a:pt x="1532" y="450"/>
                        <a:pt x="1537" y="445"/>
                        <a:pt x="1536" y="439"/>
                      </a:cubicBezTo>
                      <a:close/>
                      <a:moveTo>
                        <a:pt x="1574" y="733"/>
                      </a:moveTo>
                      <a:cubicBezTo>
                        <a:pt x="1548" y="532"/>
                        <a:pt x="1548" y="532"/>
                        <a:pt x="1548" y="532"/>
                      </a:cubicBezTo>
                      <a:cubicBezTo>
                        <a:pt x="1547" y="527"/>
                        <a:pt x="1543" y="523"/>
                        <a:pt x="1538" y="523"/>
                      </a:cubicBezTo>
                      <a:cubicBezTo>
                        <a:pt x="1357" y="523"/>
                        <a:pt x="1357" y="523"/>
                        <a:pt x="1357" y="523"/>
                      </a:cubicBezTo>
                      <a:cubicBezTo>
                        <a:pt x="1351" y="523"/>
                        <a:pt x="1347" y="528"/>
                        <a:pt x="1347" y="534"/>
                      </a:cubicBezTo>
                      <a:cubicBezTo>
                        <a:pt x="1367" y="735"/>
                        <a:pt x="1367" y="735"/>
                        <a:pt x="1367" y="735"/>
                      </a:cubicBezTo>
                      <a:cubicBezTo>
                        <a:pt x="1367" y="741"/>
                        <a:pt x="1371" y="744"/>
                        <a:pt x="1377" y="744"/>
                      </a:cubicBezTo>
                      <a:cubicBezTo>
                        <a:pt x="1564" y="744"/>
                        <a:pt x="1564" y="744"/>
                        <a:pt x="1564" y="744"/>
                      </a:cubicBezTo>
                      <a:cubicBezTo>
                        <a:pt x="1570" y="744"/>
                        <a:pt x="1575" y="739"/>
                        <a:pt x="1574" y="73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21" name="Freeform 16">
                  <a:extLst>
                    <a:ext uri="{FF2B5EF4-FFF2-40B4-BE49-F238E27FC236}">
                      <a16:creationId xmlns:a16="http://schemas.microsoft.com/office/drawing/2014/main" id="{1628A322-FF50-2480-C18C-54F0965591E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8106" y="3007614"/>
                  <a:ext cx="1337310" cy="933450"/>
                </a:xfrm>
                <a:custGeom>
                  <a:avLst/>
                  <a:gdLst>
                    <a:gd name="T0" fmla="*/ 1873 w 1874"/>
                    <a:gd name="T1" fmla="*/ 1010 h 1307"/>
                    <a:gd name="T2" fmla="*/ 1728 w 1874"/>
                    <a:gd name="T3" fmla="*/ 19 h 1307"/>
                    <a:gd name="T4" fmla="*/ 1706 w 1874"/>
                    <a:gd name="T5" fmla="*/ 0 h 1307"/>
                    <a:gd name="T6" fmla="*/ 168 w 1874"/>
                    <a:gd name="T7" fmla="*/ 0 h 1307"/>
                    <a:gd name="T8" fmla="*/ 146 w 1874"/>
                    <a:gd name="T9" fmla="*/ 19 h 1307"/>
                    <a:gd name="T10" fmla="*/ 1 w 1874"/>
                    <a:gd name="T11" fmla="*/ 1010 h 1307"/>
                    <a:gd name="T12" fmla="*/ 6 w 1874"/>
                    <a:gd name="T13" fmla="*/ 1027 h 1307"/>
                    <a:gd name="T14" fmla="*/ 23 w 1874"/>
                    <a:gd name="T15" fmla="*/ 1035 h 1307"/>
                    <a:gd name="T16" fmla="*/ 855 w 1874"/>
                    <a:gd name="T17" fmla="*/ 1035 h 1307"/>
                    <a:gd name="T18" fmla="*/ 855 w 1874"/>
                    <a:gd name="T19" fmla="*/ 1037 h 1307"/>
                    <a:gd name="T20" fmla="*/ 855 w 1874"/>
                    <a:gd name="T21" fmla="*/ 1307 h 1307"/>
                    <a:gd name="T22" fmla="*/ 899 w 1874"/>
                    <a:gd name="T23" fmla="*/ 1307 h 1307"/>
                    <a:gd name="T24" fmla="*/ 899 w 1874"/>
                    <a:gd name="T25" fmla="*/ 1037 h 1307"/>
                    <a:gd name="T26" fmla="*/ 899 w 1874"/>
                    <a:gd name="T27" fmla="*/ 1035 h 1307"/>
                    <a:gd name="T28" fmla="*/ 975 w 1874"/>
                    <a:gd name="T29" fmla="*/ 1035 h 1307"/>
                    <a:gd name="T30" fmla="*/ 975 w 1874"/>
                    <a:gd name="T31" fmla="*/ 1037 h 1307"/>
                    <a:gd name="T32" fmla="*/ 975 w 1874"/>
                    <a:gd name="T33" fmla="*/ 1307 h 1307"/>
                    <a:gd name="T34" fmla="*/ 1019 w 1874"/>
                    <a:gd name="T35" fmla="*/ 1307 h 1307"/>
                    <a:gd name="T36" fmla="*/ 1019 w 1874"/>
                    <a:gd name="T37" fmla="*/ 1037 h 1307"/>
                    <a:gd name="T38" fmla="*/ 1019 w 1874"/>
                    <a:gd name="T39" fmla="*/ 1035 h 1307"/>
                    <a:gd name="T40" fmla="*/ 1851 w 1874"/>
                    <a:gd name="T41" fmla="*/ 1035 h 1307"/>
                    <a:gd name="T42" fmla="*/ 1868 w 1874"/>
                    <a:gd name="T43" fmla="*/ 1027 h 1307"/>
                    <a:gd name="T44" fmla="*/ 1873 w 1874"/>
                    <a:gd name="T45" fmla="*/ 1010 h 1307"/>
                    <a:gd name="T46" fmla="*/ 48 w 1874"/>
                    <a:gd name="T47" fmla="*/ 991 h 1307"/>
                    <a:gd name="T48" fmla="*/ 187 w 1874"/>
                    <a:gd name="T49" fmla="*/ 44 h 1307"/>
                    <a:gd name="T50" fmla="*/ 1687 w 1874"/>
                    <a:gd name="T51" fmla="*/ 44 h 1307"/>
                    <a:gd name="T52" fmla="*/ 1826 w 1874"/>
                    <a:gd name="T53" fmla="*/ 991 h 1307"/>
                    <a:gd name="T54" fmla="*/ 48 w 1874"/>
                    <a:gd name="T55" fmla="*/ 991 h 1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874" h="1307">
                      <a:moveTo>
                        <a:pt x="1873" y="1010"/>
                      </a:moveTo>
                      <a:cubicBezTo>
                        <a:pt x="1728" y="19"/>
                        <a:pt x="1728" y="19"/>
                        <a:pt x="1728" y="19"/>
                      </a:cubicBezTo>
                      <a:cubicBezTo>
                        <a:pt x="1727" y="8"/>
                        <a:pt x="1717" y="0"/>
                        <a:pt x="1706" y="0"/>
                      </a:cubicBez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7" y="0"/>
                        <a:pt x="147" y="8"/>
                        <a:pt x="146" y="19"/>
                      </a:cubicBezTo>
                      <a:cubicBezTo>
                        <a:pt x="1" y="1010"/>
                        <a:pt x="1" y="1010"/>
                        <a:pt x="1" y="1010"/>
                      </a:cubicBezTo>
                      <a:cubicBezTo>
                        <a:pt x="0" y="1016"/>
                        <a:pt x="2" y="1023"/>
                        <a:pt x="6" y="1027"/>
                      </a:cubicBezTo>
                      <a:cubicBezTo>
                        <a:pt x="11" y="1032"/>
                        <a:pt x="17" y="1035"/>
                        <a:pt x="23" y="1035"/>
                      </a:cubicBezTo>
                      <a:cubicBezTo>
                        <a:pt x="855" y="1035"/>
                        <a:pt x="855" y="1035"/>
                        <a:pt x="855" y="1035"/>
                      </a:cubicBezTo>
                      <a:cubicBezTo>
                        <a:pt x="855" y="1036"/>
                        <a:pt x="855" y="1036"/>
                        <a:pt x="855" y="1037"/>
                      </a:cubicBezTo>
                      <a:cubicBezTo>
                        <a:pt x="855" y="1307"/>
                        <a:pt x="855" y="1307"/>
                        <a:pt x="855" y="1307"/>
                      </a:cubicBezTo>
                      <a:cubicBezTo>
                        <a:pt x="899" y="1307"/>
                        <a:pt x="899" y="1307"/>
                        <a:pt x="899" y="1307"/>
                      </a:cubicBezTo>
                      <a:cubicBezTo>
                        <a:pt x="899" y="1037"/>
                        <a:pt x="899" y="1037"/>
                        <a:pt x="899" y="1037"/>
                      </a:cubicBezTo>
                      <a:cubicBezTo>
                        <a:pt x="899" y="1036"/>
                        <a:pt x="899" y="1036"/>
                        <a:pt x="899" y="1035"/>
                      </a:cubicBezTo>
                      <a:cubicBezTo>
                        <a:pt x="975" y="1035"/>
                        <a:pt x="975" y="1035"/>
                        <a:pt x="975" y="1035"/>
                      </a:cubicBezTo>
                      <a:cubicBezTo>
                        <a:pt x="975" y="1036"/>
                        <a:pt x="975" y="1036"/>
                        <a:pt x="975" y="1037"/>
                      </a:cubicBezTo>
                      <a:cubicBezTo>
                        <a:pt x="975" y="1307"/>
                        <a:pt x="975" y="1307"/>
                        <a:pt x="975" y="1307"/>
                      </a:cubicBezTo>
                      <a:cubicBezTo>
                        <a:pt x="1019" y="1307"/>
                        <a:pt x="1019" y="1307"/>
                        <a:pt x="1019" y="1307"/>
                      </a:cubicBezTo>
                      <a:cubicBezTo>
                        <a:pt x="1019" y="1037"/>
                        <a:pt x="1019" y="1037"/>
                        <a:pt x="1019" y="1037"/>
                      </a:cubicBezTo>
                      <a:cubicBezTo>
                        <a:pt x="1019" y="1036"/>
                        <a:pt x="1019" y="1036"/>
                        <a:pt x="1019" y="1035"/>
                      </a:cubicBezTo>
                      <a:cubicBezTo>
                        <a:pt x="1851" y="1035"/>
                        <a:pt x="1851" y="1035"/>
                        <a:pt x="1851" y="1035"/>
                      </a:cubicBezTo>
                      <a:cubicBezTo>
                        <a:pt x="1857" y="1035"/>
                        <a:pt x="1863" y="1032"/>
                        <a:pt x="1868" y="1027"/>
                      </a:cubicBezTo>
                      <a:cubicBezTo>
                        <a:pt x="1872" y="1023"/>
                        <a:pt x="1874" y="1016"/>
                        <a:pt x="1873" y="1010"/>
                      </a:cubicBezTo>
                      <a:close/>
                      <a:moveTo>
                        <a:pt x="48" y="991"/>
                      </a:moveTo>
                      <a:cubicBezTo>
                        <a:pt x="187" y="44"/>
                        <a:pt x="187" y="44"/>
                        <a:pt x="187" y="44"/>
                      </a:cubicBezTo>
                      <a:cubicBezTo>
                        <a:pt x="1687" y="44"/>
                        <a:pt x="1687" y="44"/>
                        <a:pt x="1687" y="44"/>
                      </a:cubicBezTo>
                      <a:cubicBezTo>
                        <a:pt x="1826" y="991"/>
                        <a:pt x="1826" y="991"/>
                        <a:pt x="1826" y="991"/>
                      </a:cubicBezTo>
                      <a:lnTo>
                        <a:pt x="48" y="99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grpSp>
        <p:nvGrpSpPr>
          <p:cNvPr id="152" name="bcgIcons_Mining">
            <a:extLst>
              <a:ext uri="{FF2B5EF4-FFF2-40B4-BE49-F238E27FC236}">
                <a16:creationId xmlns:a16="http://schemas.microsoft.com/office/drawing/2014/main" id="{9CFE3558-D3FC-BC4A-9189-009EBF31D28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28561" y="4373088"/>
            <a:ext cx="375622" cy="470667"/>
            <a:chOff x="1682" y="0"/>
            <a:chExt cx="4316" cy="4320"/>
          </a:xfrm>
        </p:grpSpPr>
        <p:sp>
          <p:nvSpPr>
            <p:cNvPr id="153" name="AutoShape 38">
              <a:extLst>
                <a:ext uri="{FF2B5EF4-FFF2-40B4-BE49-F238E27FC236}">
                  <a16:creationId xmlns:a16="http://schemas.microsoft.com/office/drawing/2014/main" id="{B4B0AFC0-5339-6153-A82C-61412451395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Freeform 40">
              <a:extLst>
                <a:ext uri="{FF2B5EF4-FFF2-40B4-BE49-F238E27FC236}">
                  <a16:creationId xmlns:a16="http://schemas.microsoft.com/office/drawing/2014/main" id="{A7372FA9-BBCE-9040-83C6-3CCECD3DE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Freeform 41">
              <a:extLst>
                <a:ext uri="{FF2B5EF4-FFF2-40B4-BE49-F238E27FC236}">
                  <a16:creationId xmlns:a16="http://schemas.microsoft.com/office/drawing/2014/main" id="{61B1E113-8C40-1152-B993-3E2F94E5DD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62CCF649-6E6C-16EF-E5C9-1284D930D269}"/>
              </a:ext>
            </a:extLst>
          </p:cNvPr>
          <p:cNvGrpSpPr/>
          <p:nvPr/>
        </p:nvGrpSpPr>
        <p:grpSpPr>
          <a:xfrm>
            <a:off x="10001384" y="4339072"/>
            <a:ext cx="808639" cy="538701"/>
            <a:chOff x="7199117" y="4981398"/>
            <a:chExt cx="808639" cy="538701"/>
          </a:xfrm>
        </p:grpSpPr>
        <p:grpSp>
          <p:nvGrpSpPr>
            <p:cNvPr id="133" name="bcgIcons_Power">
              <a:extLst>
                <a:ext uri="{FF2B5EF4-FFF2-40B4-BE49-F238E27FC236}">
                  <a16:creationId xmlns:a16="http://schemas.microsoft.com/office/drawing/2014/main" id="{01C2670D-0C57-BFAF-5976-5B0641F7B4E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199117" y="5049432"/>
              <a:ext cx="454734" cy="470667"/>
              <a:chOff x="1682" y="0"/>
              <a:chExt cx="4316" cy="4320"/>
            </a:xfrm>
          </p:grpSpPr>
          <p:sp>
            <p:nvSpPr>
              <p:cNvPr id="149" name="AutoShape 45">
                <a:extLst>
                  <a:ext uri="{FF2B5EF4-FFF2-40B4-BE49-F238E27FC236}">
                    <a16:creationId xmlns:a16="http://schemas.microsoft.com/office/drawing/2014/main" id="{FDEE3007-8354-9CD4-9248-21FB5B9B1EB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50" name="Freeform 47">
                <a:extLst>
                  <a:ext uri="{FF2B5EF4-FFF2-40B4-BE49-F238E27FC236}">
                    <a16:creationId xmlns:a16="http://schemas.microsoft.com/office/drawing/2014/main" id="{9A1A2EB7-CB48-62C0-E211-7D3041AEA7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96" y="424"/>
                <a:ext cx="1875" cy="3489"/>
              </a:xfrm>
              <a:custGeom>
                <a:avLst/>
                <a:gdLst>
                  <a:gd name="T0" fmla="*/ 672 w 1001"/>
                  <a:gd name="T1" fmla="*/ 44 h 1861"/>
                  <a:gd name="T2" fmla="*/ 552 w 1001"/>
                  <a:gd name="T3" fmla="*/ 778 h 1861"/>
                  <a:gd name="T4" fmla="*/ 957 w 1001"/>
                  <a:gd name="T5" fmla="*/ 666 h 1861"/>
                  <a:gd name="T6" fmla="*/ 332 w 1001"/>
                  <a:gd name="T7" fmla="*/ 1817 h 1861"/>
                  <a:gd name="T8" fmla="*/ 452 w 1001"/>
                  <a:gd name="T9" fmla="*/ 1085 h 1861"/>
                  <a:gd name="T10" fmla="*/ 47 w 1001"/>
                  <a:gd name="T11" fmla="*/ 1195 h 1861"/>
                  <a:gd name="T12" fmla="*/ 672 w 1001"/>
                  <a:gd name="T13" fmla="*/ 44 h 1861"/>
                  <a:gd name="T14" fmla="*/ 957 w 1001"/>
                  <a:gd name="T15" fmla="*/ 666 h 1861"/>
                  <a:gd name="T16" fmla="*/ 957 w 1001"/>
                  <a:gd name="T17" fmla="*/ 666 h 1861"/>
                  <a:gd name="T18" fmla="*/ 672 w 1001"/>
                  <a:gd name="T19" fmla="*/ 0 h 1861"/>
                  <a:gd name="T20" fmla="*/ 634 w 1001"/>
                  <a:gd name="T21" fmla="*/ 23 h 1861"/>
                  <a:gd name="T22" fmla="*/ 9 w 1001"/>
                  <a:gd name="T23" fmla="*/ 1174 h 1861"/>
                  <a:gd name="T24" fmla="*/ 13 w 1001"/>
                  <a:gd name="T25" fmla="*/ 1222 h 1861"/>
                  <a:gd name="T26" fmla="*/ 47 w 1001"/>
                  <a:gd name="T27" fmla="*/ 1239 h 1861"/>
                  <a:gd name="T28" fmla="*/ 59 w 1001"/>
                  <a:gd name="T29" fmla="*/ 1237 h 1861"/>
                  <a:gd name="T30" fmla="*/ 397 w 1001"/>
                  <a:gd name="T31" fmla="*/ 1145 h 1861"/>
                  <a:gd name="T32" fmla="*/ 288 w 1001"/>
                  <a:gd name="T33" fmla="*/ 1810 h 1861"/>
                  <a:gd name="T34" fmla="*/ 318 w 1001"/>
                  <a:gd name="T35" fmla="*/ 1858 h 1861"/>
                  <a:gd name="T36" fmla="*/ 332 w 1001"/>
                  <a:gd name="T37" fmla="*/ 1861 h 1861"/>
                  <a:gd name="T38" fmla="*/ 371 w 1001"/>
                  <a:gd name="T39" fmla="*/ 1838 h 1861"/>
                  <a:gd name="T40" fmla="*/ 995 w 1001"/>
                  <a:gd name="T41" fmla="*/ 688 h 1861"/>
                  <a:gd name="T42" fmla="*/ 1001 w 1001"/>
                  <a:gd name="T43" fmla="*/ 666 h 1861"/>
                  <a:gd name="T44" fmla="*/ 959 w 1001"/>
                  <a:gd name="T45" fmla="*/ 622 h 1861"/>
                  <a:gd name="T46" fmla="*/ 957 w 1001"/>
                  <a:gd name="T47" fmla="*/ 622 h 1861"/>
                  <a:gd name="T48" fmla="*/ 954 w 1001"/>
                  <a:gd name="T49" fmla="*/ 622 h 1861"/>
                  <a:gd name="T50" fmla="*/ 944 w 1001"/>
                  <a:gd name="T51" fmla="*/ 624 h 1861"/>
                  <a:gd name="T52" fmla="*/ 607 w 1001"/>
                  <a:gd name="T53" fmla="*/ 717 h 1861"/>
                  <a:gd name="T54" fmla="*/ 716 w 1001"/>
                  <a:gd name="T55" fmla="*/ 51 h 1861"/>
                  <a:gd name="T56" fmla="*/ 687 w 1001"/>
                  <a:gd name="T57" fmla="*/ 2 h 1861"/>
                  <a:gd name="T58" fmla="*/ 672 w 1001"/>
                  <a:gd name="T59" fmla="*/ 0 h 1861"/>
                  <a:gd name="T60" fmla="*/ 672 w 1001"/>
                  <a:gd name="T61" fmla="*/ 88 h 1861"/>
                  <a:gd name="T62" fmla="*/ 672 w 1001"/>
                  <a:gd name="T63" fmla="*/ 88 h 1861"/>
                  <a:gd name="T64" fmla="*/ 672 w 1001"/>
                  <a:gd name="T65" fmla="*/ 88 h 1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01" h="1861">
                    <a:moveTo>
                      <a:pt x="672" y="44"/>
                    </a:moveTo>
                    <a:cubicBezTo>
                      <a:pt x="552" y="778"/>
                      <a:pt x="552" y="778"/>
                      <a:pt x="552" y="778"/>
                    </a:cubicBezTo>
                    <a:cubicBezTo>
                      <a:pt x="957" y="666"/>
                      <a:pt x="957" y="666"/>
                      <a:pt x="957" y="666"/>
                    </a:cubicBezTo>
                    <a:cubicBezTo>
                      <a:pt x="332" y="1817"/>
                      <a:pt x="332" y="1817"/>
                      <a:pt x="332" y="1817"/>
                    </a:cubicBezTo>
                    <a:cubicBezTo>
                      <a:pt x="452" y="1085"/>
                      <a:pt x="452" y="1085"/>
                      <a:pt x="452" y="1085"/>
                    </a:cubicBezTo>
                    <a:cubicBezTo>
                      <a:pt x="47" y="1195"/>
                      <a:pt x="47" y="1195"/>
                      <a:pt x="47" y="1195"/>
                    </a:cubicBezTo>
                    <a:cubicBezTo>
                      <a:pt x="672" y="44"/>
                      <a:pt x="672" y="44"/>
                      <a:pt x="672" y="44"/>
                    </a:cubicBezTo>
                    <a:moveTo>
                      <a:pt x="957" y="666"/>
                    </a:moveTo>
                    <a:cubicBezTo>
                      <a:pt x="957" y="666"/>
                      <a:pt x="957" y="666"/>
                      <a:pt x="957" y="666"/>
                    </a:cubicBezTo>
                    <a:moveTo>
                      <a:pt x="672" y="0"/>
                    </a:moveTo>
                    <a:cubicBezTo>
                      <a:pt x="657" y="0"/>
                      <a:pt x="642" y="9"/>
                      <a:pt x="634" y="23"/>
                    </a:cubicBezTo>
                    <a:cubicBezTo>
                      <a:pt x="9" y="1174"/>
                      <a:pt x="9" y="1174"/>
                      <a:pt x="9" y="1174"/>
                    </a:cubicBezTo>
                    <a:cubicBezTo>
                      <a:pt x="0" y="1189"/>
                      <a:pt x="2" y="1208"/>
                      <a:pt x="13" y="1222"/>
                    </a:cubicBezTo>
                    <a:cubicBezTo>
                      <a:pt x="21" y="1233"/>
                      <a:pt x="34" y="1239"/>
                      <a:pt x="47" y="1239"/>
                    </a:cubicBezTo>
                    <a:cubicBezTo>
                      <a:pt x="51" y="1239"/>
                      <a:pt x="55" y="1238"/>
                      <a:pt x="59" y="1237"/>
                    </a:cubicBezTo>
                    <a:cubicBezTo>
                      <a:pt x="397" y="1145"/>
                      <a:pt x="397" y="1145"/>
                      <a:pt x="397" y="1145"/>
                    </a:cubicBezTo>
                    <a:cubicBezTo>
                      <a:pt x="288" y="1810"/>
                      <a:pt x="288" y="1810"/>
                      <a:pt x="288" y="1810"/>
                    </a:cubicBezTo>
                    <a:cubicBezTo>
                      <a:pt x="285" y="1831"/>
                      <a:pt x="297" y="1851"/>
                      <a:pt x="318" y="1858"/>
                    </a:cubicBezTo>
                    <a:cubicBezTo>
                      <a:pt x="322" y="1860"/>
                      <a:pt x="327" y="1861"/>
                      <a:pt x="332" y="1861"/>
                    </a:cubicBezTo>
                    <a:cubicBezTo>
                      <a:pt x="348" y="1861"/>
                      <a:pt x="363" y="1852"/>
                      <a:pt x="371" y="1838"/>
                    </a:cubicBezTo>
                    <a:cubicBezTo>
                      <a:pt x="995" y="688"/>
                      <a:pt x="995" y="688"/>
                      <a:pt x="995" y="688"/>
                    </a:cubicBezTo>
                    <a:cubicBezTo>
                      <a:pt x="999" y="681"/>
                      <a:pt x="1001" y="674"/>
                      <a:pt x="1001" y="666"/>
                    </a:cubicBezTo>
                    <a:cubicBezTo>
                      <a:pt x="1001" y="642"/>
                      <a:pt x="982" y="623"/>
                      <a:pt x="959" y="622"/>
                    </a:cubicBezTo>
                    <a:cubicBezTo>
                      <a:pt x="958" y="622"/>
                      <a:pt x="958" y="622"/>
                      <a:pt x="957" y="622"/>
                    </a:cubicBezTo>
                    <a:cubicBezTo>
                      <a:pt x="956" y="622"/>
                      <a:pt x="955" y="622"/>
                      <a:pt x="954" y="622"/>
                    </a:cubicBezTo>
                    <a:cubicBezTo>
                      <a:pt x="950" y="622"/>
                      <a:pt x="947" y="623"/>
                      <a:pt x="944" y="624"/>
                    </a:cubicBezTo>
                    <a:cubicBezTo>
                      <a:pt x="607" y="717"/>
                      <a:pt x="607" y="717"/>
                      <a:pt x="607" y="717"/>
                    </a:cubicBezTo>
                    <a:cubicBezTo>
                      <a:pt x="716" y="51"/>
                      <a:pt x="716" y="51"/>
                      <a:pt x="716" y="51"/>
                    </a:cubicBezTo>
                    <a:cubicBezTo>
                      <a:pt x="719" y="30"/>
                      <a:pt x="707" y="9"/>
                      <a:pt x="687" y="2"/>
                    </a:cubicBezTo>
                    <a:cubicBezTo>
                      <a:pt x="682" y="1"/>
                      <a:pt x="677" y="0"/>
                      <a:pt x="672" y="0"/>
                    </a:cubicBezTo>
                    <a:close/>
                    <a:moveTo>
                      <a:pt x="672" y="88"/>
                    </a:moveTo>
                    <a:cubicBezTo>
                      <a:pt x="672" y="88"/>
                      <a:pt x="672" y="88"/>
                      <a:pt x="672" y="88"/>
                    </a:cubicBezTo>
                    <a:cubicBezTo>
                      <a:pt x="672" y="88"/>
                      <a:pt x="672" y="88"/>
                      <a:pt x="672" y="8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151" name="Freeform 48">
                <a:extLst>
                  <a:ext uri="{FF2B5EF4-FFF2-40B4-BE49-F238E27FC236}">
                    <a16:creationId xmlns:a16="http://schemas.microsoft.com/office/drawing/2014/main" id="{F97D3CDF-E282-E5A6-B6FE-5011DE65D2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2" y="953"/>
                <a:ext cx="1390" cy="2431"/>
              </a:xfrm>
              <a:custGeom>
                <a:avLst/>
                <a:gdLst>
                  <a:gd name="T0" fmla="*/ 529 w 1390"/>
                  <a:gd name="T1" fmla="*/ 2431 h 2431"/>
                  <a:gd name="T2" fmla="*/ 709 w 1390"/>
                  <a:gd name="T3" fmla="*/ 1395 h 2431"/>
                  <a:gd name="T4" fmla="*/ 0 w 1390"/>
                  <a:gd name="T5" fmla="*/ 1586 h 2431"/>
                  <a:gd name="T6" fmla="*/ 862 w 1390"/>
                  <a:gd name="T7" fmla="*/ 0 h 2431"/>
                  <a:gd name="T8" fmla="*/ 682 w 1390"/>
                  <a:gd name="T9" fmla="*/ 1033 h 2431"/>
                  <a:gd name="T10" fmla="*/ 1390 w 1390"/>
                  <a:gd name="T11" fmla="*/ 843 h 2431"/>
                  <a:gd name="T12" fmla="*/ 529 w 1390"/>
                  <a:gd name="T13" fmla="*/ 2431 h 2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0" h="2431">
                    <a:moveTo>
                      <a:pt x="529" y="2431"/>
                    </a:moveTo>
                    <a:lnTo>
                      <a:pt x="709" y="1395"/>
                    </a:lnTo>
                    <a:lnTo>
                      <a:pt x="0" y="1586"/>
                    </a:lnTo>
                    <a:lnTo>
                      <a:pt x="862" y="0"/>
                    </a:lnTo>
                    <a:lnTo>
                      <a:pt x="682" y="1033"/>
                    </a:lnTo>
                    <a:lnTo>
                      <a:pt x="1390" y="843"/>
                    </a:lnTo>
                    <a:lnTo>
                      <a:pt x="529" y="243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0500B525-86C2-55C1-D14F-CA0B88C3851C}"/>
                </a:ext>
              </a:extLst>
            </p:cNvPr>
            <p:cNvGrpSpPr/>
            <p:nvPr/>
          </p:nvGrpSpPr>
          <p:grpSpPr>
            <a:xfrm>
              <a:off x="7451445" y="4981398"/>
              <a:ext cx="556311" cy="538701"/>
              <a:chOff x="7531639" y="4451986"/>
              <a:chExt cx="556311" cy="538701"/>
            </a:xfrm>
          </p:grpSpPr>
          <p:grpSp>
            <p:nvGrpSpPr>
              <p:cNvPr id="175" name="bcgIcons_Power">
                <a:extLst>
                  <a:ext uri="{FF2B5EF4-FFF2-40B4-BE49-F238E27FC236}">
                    <a16:creationId xmlns:a16="http://schemas.microsoft.com/office/drawing/2014/main" id="{285A3A1F-89A5-95A8-AB1C-1CAB95D5F65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531639" y="4520020"/>
                <a:ext cx="454734" cy="470667"/>
                <a:chOff x="1682" y="0"/>
                <a:chExt cx="4316" cy="4320"/>
              </a:xfrm>
            </p:grpSpPr>
            <p:sp>
              <p:nvSpPr>
                <p:cNvPr id="177" name="AutoShape 45">
                  <a:extLst>
                    <a:ext uri="{FF2B5EF4-FFF2-40B4-BE49-F238E27FC236}">
                      <a16:creationId xmlns:a16="http://schemas.microsoft.com/office/drawing/2014/main" id="{865E9D87-08FF-53A8-2A78-73B6D7572457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78" name="Freeform 47">
                  <a:extLst>
                    <a:ext uri="{FF2B5EF4-FFF2-40B4-BE49-F238E27FC236}">
                      <a16:creationId xmlns:a16="http://schemas.microsoft.com/office/drawing/2014/main" id="{5C23B7A2-9D08-418E-F46B-D8B0C0DCFF3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896" y="424"/>
                  <a:ext cx="1875" cy="3489"/>
                </a:xfrm>
                <a:custGeom>
                  <a:avLst/>
                  <a:gdLst>
                    <a:gd name="T0" fmla="*/ 672 w 1001"/>
                    <a:gd name="T1" fmla="*/ 44 h 1861"/>
                    <a:gd name="T2" fmla="*/ 552 w 1001"/>
                    <a:gd name="T3" fmla="*/ 778 h 1861"/>
                    <a:gd name="T4" fmla="*/ 957 w 1001"/>
                    <a:gd name="T5" fmla="*/ 666 h 1861"/>
                    <a:gd name="T6" fmla="*/ 332 w 1001"/>
                    <a:gd name="T7" fmla="*/ 1817 h 1861"/>
                    <a:gd name="T8" fmla="*/ 452 w 1001"/>
                    <a:gd name="T9" fmla="*/ 1085 h 1861"/>
                    <a:gd name="T10" fmla="*/ 47 w 1001"/>
                    <a:gd name="T11" fmla="*/ 1195 h 1861"/>
                    <a:gd name="T12" fmla="*/ 672 w 1001"/>
                    <a:gd name="T13" fmla="*/ 44 h 1861"/>
                    <a:gd name="T14" fmla="*/ 957 w 1001"/>
                    <a:gd name="T15" fmla="*/ 666 h 1861"/>
                    <a:gd name="T16" fmla="*/ 957 w 1001"/>
                    <a:gd name="T17" fmla="*/ 666 h 1861"/>
                    <a:gd name="T18" fmla="*/ 672 w 1001"/>
                    <a:gd name="T19" fmla="*/ 0 h 1861"/>
                    <a:gd name="T20" fmla="*/ 634 w 1001"/>
                    <a:gd name="T21" fmla="*/ 23 h 1861"/>
                    <a:gd name="T22" fmla="*/ 9 w 1001"/>
                    <a:gd name="T23" fmla="*/ 1174 h 1861"/>
                    <a:gd name="T24" fmla="*/ 13 w 1001"/>
                    <a:gd name="T25" fmla="*/ 1222 h 1861"/>
                    <a:gd name="T26" fmla="*/ 47 w 1001"/>
                    <a:gd name="T27" fmla="*/ 1239 h 1861"/>
                    <a:gd name="T28" fmla="*/ 59 w 1001"/>
                    <a:gd name="T29" fmla="*/ 1237 h 1861"/>
                    <a:gd name="T30" fmla="*/ 397 w 1001"/>
                    <a:gd name="T31" fmla="*/ 1145 h 1861"/>
                    <a:gd name="T32" fmla="*/ 288 w 1001"/>
                    <a:gd name="T33" fmla="*/ 1810 h 1861"/>
                    <a:gd name="T34" fmla="*/ 318 w 1001"/>
                    <a:gd name="T35" fmla="*/ 1858 h 1861"/>
                    <a:gd name="T36" fmla="*/ 332 w 1001"/>
                    <a:gd name="T37" fmla="*/ 1861 h 1861"/>
                    <a:gd name="T38" fmla="*/ 371 w 1001"/>
                    <a:gd name="T39" fmla="*/ 1838 h 1861"/>
                    <a:gd name="T40" fmla="*/ 995 w 1001"/>
                    <a:gd name="T41" fmla="*/ 688 h 1861"/>
                    <a:gd name="T42" fmla="*/ 1001 w 1001"/>
                    <a:gd name="T43" fmla="*/ 666 h 1861"/>
                    <a:gd name="T44" fmla="*/ 959 w 1001"/>
                    <a:gd name="T45" fmla="*/ 622 h 1861"/>
                    <a:gd name="T46" fmla="*/ 957 w 1001"/>
                    <a:gd name="T47" fmla="*/ 622 h 1861"/>
                    <a:gd name="T48" fmla="*/ 954 w 1001"/>
                    <a:gd name="T49" fmla="*/ 622 h 1861"/>
                    <a:gd name="T50" fmla="*/ 944 w 1001"/>
                    <a:gd name="T51" fmla="*/ 624 h 1861"/>
                    <a:gd name="T52" fmla="*/ 607 w 1001"/>
                    <a:gd name="T53" fmla="*/ 717 h 1861"/>
                    <a:gd name="T54" fmla="*/ 716 w 1001"/>
                    <a:gd name="T55" fmla="*/ 51 h 1861"/>
                    <a:gd name="T56" fmla="*/ 687 w 1001"/>
                    <a:gd name="T57" fmla="*/ 2 h 1861"/>
                    <a:gd name="T58" fmla="*/ 672 w 1001"/>
                    <a:gd name="T59" fmla="*/ 0 h 1861"/>
                    <a:gd name="T60" fmla="*/ 672 w 1001"/>
                    <a:gd name="T61" fmla="*/ 88 h 1861"/>
                    <a:gd name="T62" fmla="*/ 672 w 1001"/>
                    <a:gd name="T63" fmla="*/ 88 h 1861"/>
                    <a:gd name="T64" fmla="*/ 672 w 1001"/>
                    <a:gd name="T65" fmla="*/ 88 h 18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001" h="1861">
                      <a:moveTo>
                        <a:pt x="672" y="44"/>
                      </a:moveTo>
                      <a:cubicBezTo>
                        <a:pt x="552" y="778"/>
                        <a:pt x="552" y="778"/>
                        <a:pt x="552" y="778"/>
                      </a:cubicBezTo>
                      <a:cubicBezTo>
                        <a:pt x="957" y="666"/>
                        <a:pt x="957" y="666"/>
                        <a:pt x="957" y="666"/>
                      </a:cubicBezTo>
                      <a:cubicBezTo>
                        <a:pt x="332" y="1817"/>
                        <a:pt x="332" y="1817"/>
                        <a:pt x="332" y="1817"/>
                      </a:cubicBezTo>
                      <a:cubicBezTo>
                        <a:pt x="452" y="1085"/>
                        <a:pt x="452" y="1085"/>
                        <a:pt x="452" y="1085"/>
                      </a:cubicBezTo>
                      <a:cubicBezTo>
                        <a:pt x="47" y="1195"/>
                        <a:pt x="47" y="1195"/>
                        <a:pt x="47" y="1195"/>
                      </a:cubicBezTo>
                      <a:cubicBezTo>
                        <a:pt x="672" y="44"/>
                        <a:pt x="672" y="44"/>
                        <a:pt x="672" y="44"/>
                      </a:cubicBezTo>
                      <a:moveTo>
                        <a:pt x="957" y="666"/>
                      </a:moveTo>
                      <a:cubicBezTo>
                        <a:pt x="957" y="666"/>
                        <a:pt x="957" y="666"/>
                        <a:pt x="957" y="666"/>
                      </a:cubicBezTo>
                      <a:moveTo>
                        <a:pt x="672" y="0"/>
                      </a:moveTo>
                      <a:cubicBezTo>
                        <a:pt x="657" y="0"/>
                        <a:pt x="642" y="9"/>
                        <a:pt x="634" y="23"/>
                      </a:cubicBezTo>
                      <a:cubicBezTo>
                        <a:pt x="9" y="1174"/>
                        <a:pt x="9" y="1174"/>
                        <a:pt x="9" y="1174"/>
                      </a:cubicBezTo>
                      <a:cubicBezTo>
                        <a:pt x="0" y="1189"/>
                        <a:pt x="2" y="1208"/>
                        <a:pt x="13" y="1222"/>
                      </a:cubicBezTo>
                      <a:cubicBezTo>
                        <a:pt x="21" y="1233"/>
                        <a:pt x="34" y="1239"/>
                        <a:pt x="47" y="1239"/>
                      </a:cubicBezTo>
                      <a:cubicBezTo>
                        <a:pt x="51" y="1239"/>
                        <a:pt x="55" y="1238"/>
                        <a:pt x="59" y="1237"/>
                      </a:cubicBezTo>
                      <a:cubicBezTo>
                        <a:pt x="397" y="1145"/>
                        <a:pt x="397" y="1145"/>
                        <a:pt x="397" y="1145"/>
                      </a:cubicBezTo>
                      <a:cubicBezTo>
                        <a:pt x="288" y="1810"/>
                        <a:pt x="288" y="1810"/>
                        <a:pt x="288" y="1810"/>
                      </a:cubicBezTo>
                      <a:cubicBezTo>
                        <a:pt x="285" y="1831"/>
                        <a:pt x="297" y="1851"/>
                        <a:pt x="318" y="1858"/>
                      </a:cubicBezTo>
                      <a:cubicBezTo>
                        <a:pt x="322" y="1860"/>
                        <a:pt x="327" y="1861"/>
                        <a:pt x="332" y="1861"/>
                      </a:cubicBezTo>
                      <a:cubicBezTo>
                        <a:pt x="348" y="1861"/>
                        <a:pt x="363" y="1852"/>
                        <a:pt x="371" y="1838"/>
                      </a:cubicBezTo>
                      <a:cubicBezTo>
                        <a:pt x="995" y="688"/>
                        <a:pt x="995" y="688"/>
                        <a:pt x="995" y="688"/>
                      </a:cubicBezTo>
                      <a:cubicBezTo>
                        <a:pt x="999" y="681"/>
                        <a:pt x="1001" y="674"/>
                        <a:pt x="1001" y="666"/>
                      </a:cubicBezTo>
                      <a:cubicBezTo>
                        <a:pt x="1001" y="642"/>
                        <a:pt x="982" y="623"/>
                        <a:pt x="959" y="622"/>
                      </a:cubicBezTo>
                      <a:cubicBezTo>
                        <a:pt x="958" y="622"/>
                        <a:pt x="958" y="622"/>
                        <a:pt x="957" y="622"/>
                      </a:cubicBezTo>
                      <a:cubicBezTo>
                        <a:pt x="956" y="622"/>
                        <a:pt x="955" y="622"/>
                        <a:pt x="954" y="622"/>
                      </a:cubicBezTo>
                      <a:cubicBezTo>
                        <a:pt x="950" y="622"/>
                        <a:pt x="947" y="623"/>
                        <a:pt x="944" y="624"/>
                      </a:cubicBezTo>
                      <a:cubicBezTo>
                        <a:pt x="607" y="717"/>
                        <a:pt x="607" y="717"/>
                        <a:pt x="607" y="717"/>
                      </a:cubicBezTo>
                      <a:cubicBezTo>
                        <a:pt x="716" y="51"/>
                        <a:pt x="716" y="51"/>
                        <a:pt x="716" y="51"/>
                      </a:cubicBezTo>
                      <a:cubicBezTo>
                        <a:pt x="719" y="30"/>
                        <a:pt x="707" y="9"/>
                        <a:pt x="687" y="2"/>
                      </a:cubicBezTo>
                      <a:cubicBezTo>
                        <a:pt x="682" y="1"/>
                        <a:pt x="677" y="0"/>
                        <a:pt x="672" y="0"/>
                      </a:cubicBezTo>
                      <a:close/>
                      <a:moveTo>
                        <a:pt x="672" y="88"/>
                      </a:moveTo>
                      <a:cubicBezTo>
                        <a:pt x="672" y="88"/>
                        <a:pt x="672" y="88"/>
                        <a:pt x="672" y="88"/>
                      </a:cubicBezTo>
                      <a:cubicBezTo>
                        <a:pt x="672" y="88"/>
                        <a:pt x="672" y="88"/>
                        <a:pt x="672" y="8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  <p:sp>
              <p:nvSpPr>
                <p:cNvPr id="179" name="Freeform 48">
                  <a:extLst>
                    <a:ext uri="{FF2B5EF4-FFF2-40B4-BE49-F238E27FC236}">
                      <a16:creationId xmlns:a16="http://schemas.microsoft.com/office/drawing/2014/main" id="{EF3F8FFF-7939-EAFB-4452-28A0A096E1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52" y="953"/>
                  <a:ext cx="1390" cy="2431"/>
                </a:xfrm>
                <a:custGeom>
                  <a:avLst/>
                  <a:gdLst>
                    <a:gd name="T0" fmla="*/ 529 w 1390"/>
                    <a:gd name="T1" fmla="*/ 2431 h 2431"/>
                    <a:gd name="T2" fmla="*/ 709 w 1390"/>
                    <a:gd name="T3" fmla="*/ 1395 h 2431"/>
                    <a:gd name="T4" fmla="*/ 0 w 1390"/>
                    <a:gd name="T5" fmla="*/ 1586 h 2431"/>
                    <a:gd name="T6" fmla="*/ 862 w 1390"/>
                    <a:gd name="T7" fmla="*/ 0 h 2431"/>
                    <a:gd name="T8" fmla="*/ 682 w 1390"/>
                    <a:gd name="T9" fmla="*/ 1033 h 2431"/>
                    <a:gd name="T10" fmla="*/ 1390 w 1390"/>
                    <a:gd name="T11" fmla="*/ 843 h 2431"/>
                    <a:gd name="T12" fmla="*/ 529 w 1390"/>
                    <a:gd name="T13" fmla="*/ 2431 h 2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90" h="2431">
                      <a:moveTo>
                        <a:pt x="529" y="2431"/>
                      </a:moveTo>
                      <a:lnTo>
                        <a:pt x="709" y="1395"/>
                      </a:lnTo>
                      <a:lnTo>
                        <a:pt x="0" y="1586"/>
                      </a:lnTo>
                      <a:lnTo>
                        <a:pt x="862" y="0"/>
                      </a:lnTo>
                      <a:lnTo>
                        <a:pt x="682" y="1033"/>
                      </a:lnTo>
                      <a:lnTo>
                        <a:pt x="1390" y="843"/>
                      </a:lnTo>
                      <a:lnTo>
                        <a:pt x="529" y="243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</p:grp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BE050E82-A598-6EE4-C7B8-AFF4EB627629}"/>
                  </a:ext>
                </a:extLst>
              </p:cNvPr>
              <p:cNvSpPr/>
              <p:nvPr/>
            </p:nvSpPr>
            <p:spPr>
              <a:xfrm>
                <a:off x="7762493" y="4451986"/>
                <a:ext cx="325457" cy="532247"/>
              </a:xfrm>
              <a:prstGeom prst="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41369CBD-03D3-D6A8-E6C2-84F0BF6414DC}"/>
              </a:ext>
            </a:extLst>
          </p:cNvPr>
          <p:cNvCxnSpPr>
            <a:cxnSpLocks/>
          </p:cNvCxnSpPr>
          <p:nvPr/>
        </p:nvCxnSpPr>
        <p:spPr>
          <a:xfrm>
            <a:off x="5595353" y="4608423"/>
            <a:ext cx="145979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D7D13A67-84B1-F12F-F556-F772438A033A}"/>
              </a:ext>
            </a:extLst>
          </p:cNvPr>
          <p:cNvCxnSpPr>
            <a:cxnSpLocks/>
          </p:cNvCxnSpPr>
          <p:nvPr/>
        </p:nvCxnSpPr>
        <p:spPr>
          <a:xfrm>
            <a:off x="8377585" y="4608423"/>
            <a:ext cx="14326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6954FE74-47FA-1027-D369-043F375C189C}"/>
              </a:ext>
            </a:extLst>
          </p:cNvPr>
          <p:cNvGrpSpPr>
            <a:grpSpLocks noChangeAspect="1"/>
          </p:cNvGrpSpPr>
          <p:nvPr/>
        </p:nvGrpSpPr>
        <p:grpSpPr>
          <a:xfrm>
            <a:off x="4294295" y="5286444"/>
            <a:ext cx="424619" cy="424618"/>
            <a:chOff x="5264945" y="2606834"/>
            <a:chExt cx="1646237" cy="1646237"/>
          </a:xfrm>
        </p:grpSpPr>
        <p:sp>
          <p:nvSpPr>
            <p:cNvPr id="239" name="AutoShape 13">
              <a:extLst>
                <a:ext uri="{FF2B5EF4-FFF2-40B4-BE49-F238E27FC236}">
                  <a16:creationId xmlns:a16="http://schemas.microsoft.com/office/drawing/2014/main" id="{F0D2BB26-494E-C443-0603-92930C1F5F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64945" y="2606834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5A72DB6D-17C3-8659-715D-B146A28BC90A}"/>
                </a:ext>
              </a:extLst>
            </p:cNvPr>
            <p:cNvGrpSpPr/>
            <p:nvPr/>
          </p:nvGrpSpPr>
          <p:grpSpPr>
            <a:xfrm>
              <a:off x="5418932" y="2761615"/>
              <a:ext cx="1338262" cy="1336675"/>
              <a:chOff x="5418932" y="2761615"/>
              <a:chExt cx="1338262" cy="1336675"/>
            </a:xfrm>
          </p:grpSpPr>
          <p:sp>
            <p:nvSpPr>
              <p:cNvPr id="241" name="Freeform 15">
                <a:extLst>
                  <a:ext uri="{FF2B5EF4-FFF2-40B4-BE49-F238E27FC236}">
                    <a16:creationId xmlns:a16="http://schemas.microsoft.com/office/drawing/2014/main" id="{96EB0467-962F-C8FC-FF3F-29AFEFF083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8932" y="2761615"/>
                <a:ext cx="1338262" cy="1336675"/>
              </a:xfrm>
              <a:custGeom>
                <a:avLst/>
                <a:gdLst>
                  <a:gd name="T0" fmla="*/ 261 w 1873"/>
                  <a:gd name="T1" fmla="*/ 1281 h 1872"/>
                  <a:gd name="T2" fmla="*/ 501 w 1873"/>
                  <a:gd name="T3" fmla="*/ 1303 h 1872"/>
                  <a:gd name="T4" fmla="*/ 261 w 1873"/>
                  <a:gd name="T5" fmla="*/ 1325 h 1872"/>
                  <a:gd name="T6" fmla="*/ 23 w 1873"/>
                  <a:gd name="T7" fmla="*/ 1303 h 1872"/>
                  <a:gd name="T8" fmla="*/ 1873 w 1873"/>
                  <a:gd name="T9" fmla="*/ 1849 h 1872"/>
                  <a:gd name="T10" fmla="*/ 1804 w 1873"/>
                  <a:gd name="T11" fmla="*/ 745 h 1872"/>
                  <a:gd name="T12" fmla="*/ 1436 w 1873"/>
                  <a:gd name="T13" fmla="*/ 306 h 1872"/>
                  <a:gd name="T14" fmla="*/ 849 w 1873"/>
                  <a:gd name="T15" fmla="*/ 5 h 1872"/>
                  <a:gd name="T16" fmla="*/ 464 w 1873"/>
                  <a:gd name="T17" fmla="*/ 597 h 1872"/>
                  <a:gd name="T18" fmla="*/ 245 w 1873"/>
                  <a:gd name="T19" fmla="*/ 530 h 1872"/>
                  <a:gd name="T20" fmla="*/ 4 w 1873"/>
                  <a:gd name="T21" fmla="*/ 947 h 1872"/>
                  <a:gd name="T22" fmla="*/ 69 w 1873"/>
                  <a:gd name="T23" fmla="*/ 958 h 1872"/>
                  <a:gd name="T24" fmla="*/ 130 w 1873"/>
                  <a:gd name="T25" fmla="*/ 990 h 1872"/>
                  <a:gd name="T26" fmla="*/ 273 w 1873"/>
                  <a:gd name="T27" fmla="*/ 957 h 1872"/>
                  <a:gd name="T28" fmla="*/ 455 w 1873"/>
                  <a:gd name="T29" fmla="*/ 899 h 1872"/>
                  <a:gd name="T30" fmla="*/ 637 w 1873"/>
                  <a:gd name="T31" fmla="*/ 958 h 1872"/>
                  <a:gd name="T32" fmla="*/ 1351 w 1873"/>
                  <a:gd name="T33" fmla="*/ 954 h 1872"/>
                  <a:gd name="T34" fmla="*/ 1375 w 1873"/>
                  <a:gd name="T35" fmla="*/ 913 h 1872"/>
                  <a:gd name="T36" fmla="*/ 840 w 1873"/>
                  <a:gd name="T37" fmla="*/ 878 h 1872"/>
                  <a:gd name="T38" fmla="*/ 635 w 1873"/>
                  <a:gd name="T39" fmla="*/ 913 h 1872"/>
                  <a:gd name="T40" fmla="*/ 448 w 1873"/>
                  <a:gd name="T41" fmla="*/ 855 h 1872"/>
                  <a:gd name="T42" fmla="*/ 251 w 1873"/>
                  <a:gd name="T43" fmla="*/ 896 h 1872"/>
                  <a:gd name="T44" fmla="*/ 124 w 1873"/>
                  <a:gd name="T45" fmla="*/ 945 h 1872"/>
                  <a:gd name="T46" fmla="*/ 77 w 1873"/>
                  <a:gd name="T47" fmla="*/ 914 h 1872"/>
                  <a:gd name="T48" fmla="*/ 272 w 1873"/>
                  <a:gd name="T49" fmla="*/ 568 h 1872"/>
                  <a:gd name="T50" fmla="*/ 492 w 1873"/>
                  <a:gd name="T51" fmla="*/ 636 h 1872"/>
                  <a:gd name="T52" fmla="*/ 1398 w 1873"/>
                  <a:gd name="T53" fmla="*/ 330 h 1872"/>
                  <a:gd name="T54" fmla="*/ 1511 w 1873"/>
                  <a:gd name="T55" fmla="*/ 602 h 1872"/>
                  <a:gd name="T56" fmla="*/ 1828 w 1873"/>
                  <a:gd name="T57" fmla="*/ 1828 h 1872"/>
                  <a:gd name="T58" fmla="*/ 67 w 1873"/>
                  <a:gd name="T59" fmla="*/ 1688 h 1872"/>
                  <a:gd name="T60" fmla="*/ 350 w 1873"/>
                  <a:gd name="T61" fmla="*/ 1691 h 1872"/>
                  <a:gd name="T62" fmla="*/ 440 w 1873"/>
                  <a:gd name="T63" fmla="*/ 1665 h 1872"/>
                  <a:gd name="T64" fmla="*/ 723 w 1873"/>
                  <a:gd name="T65" fmla="*/ 1714 h 1872"/>
                  <a:gd name="T66" fmla="*/ 1013 w 1873"/>
                  <a:gd name="T67" fmla="*/ 1692 h 1872"/>
                  <a:gd name="T68" fmla="*/ 1038 w 1873"/>
                  <a:gd name="T69" fmla="*/ 1712 h 1872"/>
                  <a:gd name="T70" fmla="*/ 1254 w 1873"/>
                  <a:gd name="T71" fmla="*/ 1668 h 1872"/>
                  <a:gd name="T72" fmla="*/ 1042 w 1873"/>
                  <a:gd name="T73" fmla="*/ 1656 h 1872"/>
                  <a:gd name="T74" fmla="*/ 728 w 1873"/>
                  <a:gd name="T75" fmla="*/ 1671 h 1872"/>
                  <a:gd name="T76" fmla="*/ 442 w 1873"/>
                  <a:gd name="T77" fmla="*/ 1620 h 1872"/>
                  <a:gd name="T78" fmla="*/ 354 w 1873"/>
                  <a:gd name="T79" fmla="*/ 1647 h 1872"/>
                  <a:gd name="T80" fmla="*/ 202 w 1873"/>
                  <a:gd name="T81" fmla="*/ 1613 h 1872"/>
                  <a:gd name="T82" fmla="*/ 23 w 1873"/>
                  <a:gd name="T83" fmla="*/ 1670 h 1872"/>
                  <a:gd name="T84" fmla="*/ 45 w 1873"/>
                  <a:gd name="T85" fmla="*/ 1872 h 1872"/>
                  <a:gd name="T86" fmla="*/ 1867 w 1873"/>
                  <a:gd name="T87" fmla="*/ 1865 h 1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73" h="1872">
                    <a:moveTo>
                      <a:pt x="261" y="1239"/>
                    </a:moveTo>
                    <a:cubicBezTo>
                      <a:pt x="261" y="1281"/>
                      <a:pt x="261" y="1281"/>
                      <a:pt x="261" y="1281"/>
                    </a:cubicBezTo>
                    <a:cubicBezTo>
                      <a:pt x="479" y="1281"/>
                      <a:pt x="479" y="1281"/>
                      <a:pt x="479" y="1281"/>
                    </a:cubicBezTo>
                    <a:cubicBezTo>
                      <a:pt x="491" y="1281"/>
                      <a:pt x="501" y="1291"/>
                      <a:pt x="501" y="1303"/>
                    </a:cubicBezTo>
                    <a:cubicBezTo>
                      <a:pt x="501" y="1316"/>
                      <a:pt x="491" y="1325"/>
                      <a:pt x="479" y="1325"/>
                    </a:cubicBezTo>
                    <a:cubicBezTo>
                      <a:pt x="261" y="1325"/>
                      <a:pt x="261" y="1325"/>
                      <a:pt x="261" y="1325"/>
                    </a:cubicBezTo>
                    <a:cubicBezTo>
                      <a:pt x="261" y="1367"/>
                      <a:pt x="261" y="1367"/>
                      <a:pt x="261" y="1367"/>
                    </a:cubicBezTo>
                    <a:cubicBezTo>
                      <a:pt x="23" y="1303"/>
                      <a:pt x="23" y="1303"/>
                      <a:pt x="23" y="1303"/>
                    </a:cubicBezTo>
                    <a:lnTo>
                      <a:pt x="261" y="1239"/>
                    </a:lnTo>
                    <a:close/>
                    <a:moveTo>
                      <a:pt x="1873" y="1849"/>
                    </a:moveTo>
                    <a:cubicBezTo>
                      <a:pt x="1813" y="762"/>
                      <a:pt x="1813" y="762"/>
                      <a:pt x="1813" y="762"/>
                    </a:cubicBezTo>
                    <a:cubicBezTo>
                      <a:pt x="1813" y="755"/>
                      <a:pt x="1809" y="749"/>
                      <a:pt x="1804" y="745"/>
                    </a:cubicBezTo>
                    <a:cubicBezTo>
                      <a:pt x="1541" y="569"/>
                      <a:pt x="1541" y="569"/>
                      <a:pt x="1541" y="569"/>
                    </a:cubicBezTo>
                    <a:cubicBezTo>
                      <a:pt x="1436" y="306"/>
                      <a:pt x="1436" y="306"/>
                      <a:pt x="1436" y="306"/>
                    </a:cubicBezTo>
                    <a:cubicBezTo>
                      <a:pt x="1434" y="301"/>
                      <a:pt x="1430" y="297"/>
                      <a:pt x="1425" y="295"/>
                    </a:cubicBezTo>
                    <a:cubicBezTo>
                      <a:pt x="849" y="5"/>
                      <a:pt x="849" y="5"/>
                      <a:pt x="849" y="5"/>
                    </a:cubicBezTo>
                    <a:cubicBezTo>
                      <a:pt x="838" y="0"/>
                      <a:pt x="826" y="3"/>
                      <a:pt x="820" y="13"/>
                    </a:cubicBezTo>
                    <a:cubicBezTo>
                      <a:pt x="464" y="597"/>
                      <a:pt x="464" y="597"/>
                      <a:pt x="464" y="597"/>
                    </a:cubicBezTo>
                    <a:cubicBezTo>
                      <a:pt x="271" y="521"/>
                      <a:pt x="271" y="521"/>
                      <a:pt x="271" y="521"/>
                    </a:cubicBezTo>
                    <a:cubicBezTo>
                      <a:pt x="261" y="517"/>
                      <a:pt x="250" y="520"/>
                      <a:pt x="245" y="530"/>
                    </a:cubicBezTo>
                    <a:cubicBezTo>
                      <a:pt x="4" y="925"/>
                      <a:pt x="4" y="925"/>
                      <a:pt x="4" y="925"/>
                    </a:cubicBezTo>
                    <a:cubicBezTo>
                      <a:pt x="0" y="931"/>
                      <a:pt x="0" y="940"/>
                      <a:pt x="4" y="947"/>
                    </a:cubicBezTo>
                    <a:cubicBezTo>
                      <a:pt x="8" y="954"/>
                      <a:pt x="15" y="958"/>
                      <a:pt x="23" y="958"/>
                    </a:cubicBezTo>
                    <a:cubicBezTo>
                      <a:pt x="69" y="958"/>
                      <a:pt x="69" y="958"/>
                      <a:pt x="69" y="958"/>
                    </a:cubicBezTo>
                    <a:cubicBezTo>
                      <a:pt x="108" y="987"/>
                      <a:pt x="108" y="987"/>
                      <a:pt x="108" y="987"/>
                    </a:cubicBezTo>
                    <a:cubicBezTo>
                      <a:pt x="114" y="992"/>
                      <a:pt x="123" y="993"/>
                      <a:pt x="130" y="990"/>
                    </a:cubicBezTo>
                    <a:cubicBezTo>
                      <a:pt x="240" y="940"/>
                      <a:pt x="240" y="940"/>
                      <a:pt x="240" y="940"/>
                    </a:cubicBezTo>
                    <a:cubicBezTo>
                      <a:pt x="273" y="957"/>
                      <a:pt x="273" y="957"/>
                      <a:pt x="273" y="957"/>
                    </a:cubicBezTo>
                    <a:cubicBezTo>
                      <a:pt x="278" y="960"/>
                      <a:pt x="285" y="960"/>
                      <a:pt x="290" y="958"/>
                    </a:cubicBezTo>
                    <a:cubicBezTo>
                      <a:pt x="455" y="899"/>
                      <a:pt x="455" y="899"/>
                      <a:pt x="455" y="899"/>
                    </a:cubicBezTo>
                    <a:cubicBezTo>
                      <a:pt x="626" y="957"/>
                      <a:pt x="626" y="957"/>
                      <a:pt x="626" y="957"/>
                    </a:cubicBezTo>
                    <a:cubicBezTo>
                      <a:pt x="630" y="958"/>
                      <a:pt x="634" y="958"/>
                      <a:pt x="637" y="958"/>
                    </a:cubicBezTo>
                    <a:cubicBezTo>
                      <a:pt x="840" y="922"/>
                      <a:pt x="840" y="922"/>
                      <a:pt x="840" y="922"/>
                    </a:cubicBezTo>
                    <a:cubicBezTo>
                      <a:pt x="1351" y="954"/>
                      <a:pt x="1351" y="954"/>
                      <a:pt x="1351" y="954"/>
                    </a:cubicBezTo>
                    <a:cubicBezTo>
                      <a:pt x="1373" y="916"/>
                      <a:pt x="1373" y="916"/>
                      <a:pt x="1373" y="916"/>
                    </a:cubicBezTo>
                    <a:cubicBezTo>
                      <a:pt x="1373" y="915"/>
                      <a:pt x="1374" y="914"/>
                      <a:pt x="1375" y="913"/>
                    </a:cubicBezTo>
                    <a:cubicBezTo>
                      <a:pt x="1375" y="912"/>
                      <a:pt x="1375" y="912"/>
                      <a:pt x="1375" y="912"/>
                    </a:cubicBezTo>
                    <a:cubicBezTo>
                      <a:pt x="840" y="878"/>
                      <a:pt x="840" y="878"/>
                      <a:pt x="840" y="878"/>
                    </a:cubicBezTo>
                    <a:cubicBezTo>
                      <a:pt x="838" y="878"/>
                      <a:pt x="837" y="878"/>
                      <a:pt x="835" y="878"/>
                    </a:cubicBezTo>
                    <a:cubicBezTo>
                      <a:pt x="635" y="913"/>
                      <a:pt x="635" y="913"/>
                      <a:pt x="635" y="913"/>
                    </a:cubicBezTo>
                    <a:cubicBezTo>
                      <a:pt x="462" y="855"/>
                      <a:pt x="462" y="855"/>
                      <a:pt x="462" y="855"/>
                    </a:cubicBezTo>
                    <a:cubicBezTo>
                      <a:pt x="457" y="854"/>
                      <a:pt x="452" y="854"/>
                      <a:pt x="448" y="855"/>
                    </a:cubicBezTo>
                    <a:cubicBezTo>
                      <a:pt x="284" y="913"/>
                      <a:pt x="284" y="913"/>
                      <a:pt x="284" y="913"/>
                    </a:cubicBezTo>
                    <a:cubicBezTo>
                      <a:pt x="251" y="896"/>
                      <a:pt x="251" y="896"/>
                      <a:pt x="251" y="896"/>
                    </a:cubicBezTo>
                    <a:cubicBezTo>
                      <a:pt x="245" y="893"/>
                      <a:pt x="238" y="893"/>
                      <a:pt x="232" y="896"/>
                    </a:cubicBezTo>
                    <a:cubicBezTo>
                      <a:pt x="124" y="945"/>
                      <a:pt x="124" y="945"/>
                      <a:pt x="124" y="945"/>
                    </a:cubicBezTo>
                    <a:cubicBezTo>
                      <a:pt x="90" y="919"/>
                      <a:pt x="90" y="919"/>
                      <a:pt x="90" y="919"/>
                    </a:cubicBezTo>
                    <a:cubicBezTo>
                      <a:pt x="87" y="916"/>
                      <a:pt x="82" y="914"/>
                      <a:pt x="77" y="914"/>
                    </a:cubicBezTo>
                    <a:cubicBezTo>
                      <a:pt x="62" y="914"/>
                      <a:pt x="62" y="914"/>
                      <a:pt x="62" y="914"/>
                    </a:cubicBezTo>
                    <a:cubicBezTo>
                      <a:pt x="272" y="568"/>
                      <a:pt x="272" y="568"/>
                      <a:pt x="272" y="568"/>
                    </a:cubicBezTo>
                    <a:cubicBezTo>
                      <a:pt x="465" y="645"/>
                      <a:pt x="465" y="645"/>
                      <a:pt x="465" y="645"/>
                    </a:cubicBezTo>
                    <a:cubicBezTo>
                      <a:pt x="475" y="649"/>
                      <a:pt x="487" y="645"/>
                      <a:pt x="492" y="636"/>
                    </a:cubicBezTo>
                    <a:cubicBezTo>
                      <a:pt x="847" y="53"/>
                      <a:pt x="847" y="53"/>
                      <a:pt x="847" y="53"/>
                    </a:cubicBezTo>
                    <a:cubicBezTo>
                      <a:pt x="1398" y="330"/>
                      <a:pt x="1398" y="330"/>
                      <a:pt x="1398" y="330"/>
                    </a:cubicBezTo>
                    <a:cubicBezTo>
                      <a:pt x="1503" y="592"/>
                      <a:pt x="1503" y="592"/>
                      <a:pt x="1503" y="592"/>
                    </a:cubicBezTo>
                    <a:cubicBezTo>
                      <a:pt x="1504" y="596"/>
                      <a:pt x="1507" y="599"/>
                      <a:pt x="1511" y="602"/>
                    </a:cubicBezTo>
                    <a:cubicBezTo>
                      <a:pt x="1770" y="776"/>
                      <a:pt x="1770" y="776"/>
                      <a:pt x="1770" y="776"/>
                    </a:cubicBezTo>
                    <a:cubicBezTo>
                      <a:pt x="1828" y="1828"/>
                      <a:pt x="1828" y="1828"/>
                      <a:pt x="1828" y="1828"/>
                    </a:cubicBezTo>
                    <a:cubicBezTo>
                      <a:pt x="67" y="1828"/>
                      <a:pt x="67" y="1828"/>
                      <a:pt x="67" y="1828"/>
                    </a:cubicBezTo>
                    <a:cubicBezTo>
                      <a:pt x="67" y="1688"/>
                      <a:pt x="67" y="1688"/>
                      <a:pt x="67" y="1688"/>
                    </a:cubicBezTo>
                    <a:cubicBezTo>
                      <a:pt x="206" y="1657"/>
                      <a:pt x="206" y="1657"/>
                      <a:pt x="206" y="1657"/>
                    </a:cubicBezTo>
                    <a:cubicBezTo>
                      <a:pt x="350" y="1691"/>
                      <a:pt x="350" y="1691"/>
                      <a:pt x="350" y="1691"/>
                    </a:cubicBezTo>
                    <a:cubicBezTo>
                      <a:pt x="354" y="1692"/>
                      <a:pt x="358" y="1692"/>
                      <a:pt x="362" y="1691"/>
                    </a:cubicBezTo>
                    <a:cubicBezTo>
                      <a:pt x="440" y="1665"/>
                      <a:pt x="440" y="1665"/>
                      <a:pt x="440" y="1665"/>
                    </a:cubicBezTo>
                    <a:cubicBezTo>
                      <a:pt x="626" y="1696"/>
                      <a:pt x="626" y="1696"/>
                      <a:pt x="626" y="1696"/>
                    </a:cubicBezTo>
                    <a:cubicBezTo>
                      <a:pt x="723" y="1714"/>
                      <a:pt x="723" y="1714"/>
                      <a:pt x="723" y="1714"/>
                    </a:cubicBezTo>
                    <a:cubicBezTo>
                      <a:pt x="725" y="1715"/>
                      <a:pt x="727" y="1715"/>
                      <a:pt x="729" y="1715"/>
                    </a:cubicBezTo>
                    <a:cubicBezTo>
                      <a:pt x="1013" y="1692"/>
                      <a:pt x="1013" y="1692"/>
                      <a:pt x="1013" y="1692"/>
                    </a:cubicBezTo>
                    <a:cubicBezTo>
                      <a:pt x="1020" y="1702"/>
                      <a:pt x="1020" y="1702"/>
                      <a:pt x="1020" y="1702"/>
                    </a:cubicBezTo>
                    <a:cubicBezTo>
                      <a:pt x="1024" y="1708"/>
                      <a:pt x="1030" y="1712"/>
                      <a:pt x="1038" y="1712"/>
                    </a:cubicBezTo>
                    <a:cubicBezTo>
                      <a:pt x="1269" y="1712"/>
                      <a:pt x="1269" y="1712"/>
                      <a:pt x="1269" y="1712"/>
                    </a:cubicBezTo>
                    <a:cubicBezTo>
                      <a:pt x="1254" y="1668"/>
                      <a:pt x="1254" y="1668"/>
                      <a:pt x="1254" y="1668"/>
                    </a:cubicBezTo>
                    <a:cubicBezTo>
                      <a:pt x="1049" y="1668"/>
                      <a:pt x="1049" y="1668"/>
                      <a:pt x="1049" y="1668"/>
                    </a:cubicBezTo>
                    <a:cubicBezTo>
                      <a:pt x="1042" y="1656"/>
                      <a:pt x="1042" y="1656"/>
                      <a:pt x="1042" y="1656"/>
                    </a:cubicBezTo>
                    <a:cubicBezTo>
                      <a:pt x="1037" y="1650"/>
                      <a:pt x="1030" y="1646"/>
                      <a:pt x="1022" y="1647"/>
                    </a:cubicBezTo>
                    <a:cubicBezTo>
                      <a:pt x="728" y="1671"/>
                      <a:pt x="728" y="1671"/>
                      <a:pt x="728" y="1671"/>
                    </a:cubicBezTo>
                    <a:cubicBezTo>
                      <a:pt x="634" y="1653"/>
                      <a:pt x="634" y="1653"/>
                      <a:pt x="634" y="1653"/>
                    </a:cubicBezTo>
                    <a:cubicBezTo>
                      <a:pt x="442" y="1620"/>
                      <a:pt x="442" y="1620"/>
                      <a:pt x="442" y="1620"/>
                    </a:cubicBezTo>
                    <a:cubicBezTo>
                      <a:pt x="438" y="1620"/>
                      <a:pt x="434" y="1620"/>
                      <a:pt x="431" y="1621"/>
                    </a:cubicBezTo>
                    <a:cubicBezTo>
                      <a:pt x="354" y="1647"/>
                      <a:pt x="354" y="1647"/>
                      <a:pt x="354" y="1647"/>
                    </a:cubicBezTo>
                    <a:cubicBezTo>
                      <a:pt x="211" y="1613"/>
                      <a:pt x="211" y="1613"/>
                      <a:pt x="211" y="1613"/>
                    </a:cubicBezTo>
                    <a:cubicBezTo>
                      <a:pt x="208" y="1613"/>
                      <a:pt x="205" y="1612"/>
                      <a:pt x="202" y="1613"/>
                    </a:cubicBezTo>
                    <a:cubicBezTo>
                      <a:pt x="40" y="1649"/>
                      <a:pt x="40" y="1649"/>
                      <a:pt x="40" y="1649"/>
                    </a:cubicBezTo>
                    <a:cubicBezTo>
                      <a:pt x="30" y="1651"/>
                      <a:pt x="23" y="1660"/>
                      <a:pt x="23" y="1670"/>
                    </a:cubicBezTo>
                    <a:cubicBezTo>
                      <a:pt x="23" y="1850"/>
                      <a:pt x="23" y="1850"/>
                      <a:pt x="23" y="1850"/>
                    </a:cubicBezTo>
                    <a:cubicBezTo>
                      <a:pt x="23" y="1862"/>
                      <a:pt x="33" y="1872"/>
                      <a:pt x="45" y="1872"/>
                    </a:cubicBezTo>
                    <a:cubicBezTo>
                      <a:pt x="1851" y="1872"/>
                      <a:pt x="1851" y="1872"/>
                      <a:pt x="1851" y="1872"/>
                    </a:cubicBezTo>
                    <a:cubicBezTo>
                      <a:pt x="1857" y="1872"/>
                      <a:pt x="1863" y="1870"/>
                      <a:pt x="1867" y="1865"/>
                    </a:cubicBezTo>
                    <a:cubicBezTo>
                      <a:pt x="1871" y="1861"/>
                      <a:pt x="1873" y="1855"/>
                      <a:pt x="1873" y="184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  <p:sp>
            <p:nvSpPr>
              <p:cNvPr id="242" name="Freeform 16">
                <a:extLst>
                  <a:ext uri="{FF2B5EF4-FFF2-40B4-BE49-F238E27FC236}">
                    <a16:creationId xmlns:a16="http://schemas.microsoft.com/office/drawing/2014/main" id="{A762A03F-21D3-AB92-58B2-C792003982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3882" y="3422015"/>
                <a:ext cx="925512" cy="561975"/>
              </a:xfrm>
              <a:custGeom>
                <a:avLst/>
                <a:gdLst>
                  <a:gd name="T0" fmla="*/ 715 w 1296"/>
                  <a:gd name="T1" fmla="*/ 676 h 786"/>
                  <a:gd name="T2" fmla="*/ 401 w 1296"/>
                  <a:gd name="T3" fmla="*/ 701 h 786"/>
                  <a:gd name="T4" fmla="*/ 313 w 1296"/>
                  <a:gd name="T5" fmla="*/ 685 h 786"/>
                  <a:gd name="T6" fmla="*/ 109 w 1296"/>
                  <a:gd name="T7" fmla="*/ 650 h 786"/>
                  <a:gd name="T8" fmla="*/ 98 w 1296"/>
                  <a:gd name="T9" fmla="*/ 651 h 786"/>
                  <a:gd name="T10" fmla="*/ 23 w 1296"/>
                  <a:gd name="T11" fmla="*/ 676 h 786"/>
                  <a:gd name="T12" fmla="*/ 0 w 1296"/>
                  <a:gd name="T13" fmla="*/ 671 h 786"/>
                  <a:gd name="T14" fmla="*/ 144 w 1296"/>
                  <a:gd name="T15" fmla="*/ 513 h 786"/>
                  <a:gd name="T16" fmla="*/ 251 w 1296"/>
                  <a:gd name="T17" fmla="*/ 516 h 786"/>
                  <a:gd name="T18" fmla="*/ 427 w 1296"/>
                  <a:gd name="T19" fmla="*/ 360 h 786"/>
                  <a:gd name="T20" fmla="*/ 532 w 1296"/>
                  <a:gd name="T21" fmla="*/ 454 h 786"/>
                  <a:gd name="T22" fmla="*/ 670 w 1296"/>
                  <a:gd name="T23" fmla="*/ 487 h 786"/>
                  <a:gd name="T24" fmla="*/ 710 w 1296"/>
                  <a:gd name="T25" fmla="*/ 566 h 786"/>
                  <a:gd name="T26" fmla="*/ 784 w 1296"/>
                  <a:gd name="T27" fmla="*/ 620 h 786"/>
                  <a:gd name="T28" fmla="*/ 848 w 1296"/>
                  <a:gd name="T29" fmla="*/ 699 h 786"/>
                  <a:gd name="T30" fmla="*/ 744 w 1296"/>
                  <a:gd name="T31" fmla="*/ 699 h 786"/>
                  <a:gd name="T32" fmla="*/ 735 w 1296"/>
                  <a:gd name="T33" fmla="*/ 685 h 786"/>
                  <a:gd name="T34" fmla="*/ 715 w 1296"/>
                  <a:gd name="T35" fmla="*/ 676 h 786"/>
                  <a:gd name="T36" fmla="*/ 1125 w 1296"/>
                  <a:gd name="T37" fmla="*/ 669 h 786"/>
                  <a:gd name="T38" fmla="*/ 1296 w 1296"/>
                  <a:gd name="T39" fmla="*/ 499 h 786"/>
                  <a:gd name="T40" fmla="*/ 1207 w 1296"/>
                  <a:gd name="T41" fmla="*/ 326 h 786"/>
                  <a:gd name="T42" fmla="*/ 1130 w 1296"/>
                  <a:gd name="T43" fmla="*/ 186 h 786"/>
                  <a:gd name="T44" fmla="*/ 1138 w 1296"/>
                  <a:gd name="T45" fmla="*/ 137 h 786"/>
                  <a:gd name="T46" fmla="*/ 1161 w 1296"/>
                  <a:gd name="T47" fmla="*/ 68 h 786"/>
                  <a:gd name="T48" fmla="*/ 1088 w 1296"/>
                  <a:gd name="T49" fmla="*/ 0 h 786"/>
                  <a:gd name="T50" fmla="*/ 1081 w 1296"/>
                  <a:gd name="T51" fmla="*/ 15 h 786"/>
                  <a:gd name="T52" fmla="*/ 952 w 1296"/>
                  <a:gd name="T53" fmla="*/ 242 h 786"/>
                  <a:gd name="T54" fmla="*/ 950 w 1296"/>
                  <a:gd name="T55" fmla="*/ 244 h 786"/>
                  <a:gd name="T56" fmla="*/ 1011 w 1296"/>
                  <a:gd name="T57" fmla="*/ 369 h 786"/>
                  <a:gd name="T58" fmla="*/ 1009 w 1296"/>
                  <a:gd name="T59" fmla="*/ 412 h 786"/>
                  <a:gd name="T60" fmla="*/ 933 w 1296"/>
                  <a:gd name="T61" fmla="*/ 619 h 786"/>
                  <a:gd name="T62" fmla="*/ 930 w 1296"/>
                  <a:gd name="T63" fmla="*/ 624 h 786"/>
                  <a:gd name="T64" fmla="*/ 986 w 1296"/>
                  <a:gd name="T65" fmla="*/ 786 h 786"/>
                  <a:gd name="T66" fmla="*/ 1158 w 1296"/>
                  <a:gd name="T67" fmla="*/ 786 h 786"/>
                  <a:gd name="T68" fmla="*/ 1119 w 1296"/>
                  <a:gd name="T69" fmla="*/ 718 h 786"/>
                  <a:gd name="T70" fmla="*/ 1125 w 1296"/>
                  <a:gd name="T71" fmla="*/ 66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96" h="786">
                    <a:moveTo>
                      <a:pt x="715" y="676"/>
                    </a:moveTo>
                    <a:cubicBezTo>
                      <a:pt x="401" y="701"/>
                      <a:pt x="401" y="701"/>
                      <a:pt x="401" y="701"/>
                    </a:cubicBezTo>
                    <a:cubicBezTo>
                      <a:pt x="313" y="685"/>
                      <a:pt x="313" y="685"/>
                      <a:pt x="313" y="685"/>
                    </a:cubicBezTo>
                    <a:cubicBezTo>
                      <a:pt x="109" y="650"/>
                      <a:pt x="109" y="650"/>
                      <a:pt x="109" y="650"/>
                    </a:cubicBezTo>
                    <a:cubicBezTo>
                      <a:pt x="106" y="649"/>
                      <a:pt x="102" y="650"/>
                      <a:pt x="98" y="651"/>
                    </a:cubicBezTo>
                    <a:cubicBezTo>
                      <a:pt x="23" y="676"/>
                      <a:pt x="23" y="676"/>
                      <a:pt x="23" y="676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144" y="513"/>
                      <a:pt x="144" y="513"/>
                      <a:pt x="144" y="513"/>
                    </a:cubicBezTo>
                    <a:cubicBezTo>
                      <a:pt x="251" y="516"/>
                      <a:pt x="251" y="516"/>
                      <a:pt x="251" y="516"/>
                    </a:cubicBezTo>
                    <a:cubicBezTo>
                      <a:pt x="427" y="360"/>
                      <a:pt x="427" y="360"/>
                      <a:pt x="427" y="360"/>
                    </a:cubicBezTo>
                    <a:cubicBezTo>
                      <a:pt x="532" y="454"/>
                      <a:pt x="532" y="454"/>
                      <a:pt x="532" y="454"/>
                    </a:cubicBezTo>
                    <a:cubicBezTo>
                      <a:pt x="534" y="456"/>
                      <a:pt x="670" y="487"/>
                      <a:pt x="670" y="487"/>
                    </a:cubicBezTo>
                    <a:cubicBezTo>
                      <a:pt x="710" y="566"/>
                      <a:pt x="710" y="566"/>
                      <a:pt x="710" y="566"/>
                    </a:cubicBezTo>
                    <a:cubicBezTo>
                      <a:pt x="784" y="620"/>
                      <a:pt x="784" y="620"/>
                      <a:pt x="784" y="620"/>
                    </a:cubicBezTo>
                    <a:cubicBezTo>
                      <a:pt x="848" y="699"/>
                      <a:pt x="848" y="699"/>
                      <a:pt x="848" y="699"/>
                    </a:cubicBezTo>
                    <a:cubicBezTo>
                      <a:pt x="744" y="699"/>
                      <a:pt x="744" y="699"/>
                      <a:pt x="744" y="699"/>
                    </a:cubicBezTo>
                    <a:cubicBezTo>
                      <a:pt x="735" y="685"/>
                      <a:pt x="735" y="685"/>
                      <a:pt x="735" y="685"/>
                    </a:cubicBezTo>
                    <a:cubicBezTo>
                      <a:pt x="730" y="679"/>
                      <a:pt x="723" y="675"/>
                      <a:pt x="715" y="676"/>
                    </a:cubicBezTo>
                    <a:close/>
                    <a:moveTo>
                      <a:pt x="1125" y="669"/>
                    </a:moveTo>
                    <a:cubicBezTo>
                      <a:pt x="1296" y="499"/>
                      <a:pt x="1296" y="499"/>
                      <a:pt x="1296" y="499"/>
                    </a:cubicBezTo>
                    <a:cubicBezTo>
                      <a:pt x="1207" y="326"/>
                      <a:pt x="1207" y="326"/>
                      <a:pt x="1207" y="326"/>
                    </a:cubicBezTo>
                    <a:cubicBezTo>
                      <a:pt x="1130" y="186"/>
                      <a:pt x="1130" y="186"/>
                      <a:pt x="1130" y="186"/>
                    </a:cubicBezTo>
                    <a:cubicBezTo>
                      <a:pt x="1121" y="170"/>
                      <a:pt x="1124" y="150"/>
                      <a:pt x="1138" y="137"/>
                    </a:cubicBezTo>
                    <a:cubicBezTo>
                      <a:pt x="1150" y="125"/>
                      <a:pt x="1164" y="104"/>
                      <a:pt x="1161" y="68"/>
                    </a:cubicBezTo>
                    <a:cubicBezTo>
                      <a:pt x="1161" y="67"/>
                      <a:pt x="1158" y="49"/>
                      <a:pt x="1088" y="0"/>
                    </a:cubicBezTo>
                    <a:cubicBezTo>
                      <a:pt x="1087" y="5"/>
                      <a:pt x="1084" y="10"/>
                      <a:pt x="1081" y="15"/>
                    </a:cubicBezTo>
                    <a:cubicBezTo>
                      <a:pt x="952" y="242"/>
                      <a:pt x="952" y="242"/>
                      <a:pt x="952" y="242"/>
                    </a:cubicBezTo>
                    <a:cubicBezTo>
                      <a:pt x="951" y="243"/>
                      <a:pt x="951" y="244"/>
                      <a:pt x="950" y="244"/>
                    </a:cubicBezTo>
                    <a:cubicBezTo>
                      <a:pt x="1011" y="369"/>
                      <a:pt x="1011" y="369"/>
                      <a:pt x="1011" y="369"/>
                    </a:cubicBezTo>
                    <a:cubicBezTo>
                      <a:pt x="1019" y="383"/>
                      <a:pt x="1018" y="400"/>
                      <a:pt x="1009" y="412"/>
                    </a:cubicBezTo>
                    <a:cubicBezTo>
                      <a:pt x="933" y="619"/>
                      <a:pt x="933" y="619"/>
                      <a:pt x="933" y="619"/>
                    </a:cubicBezTo>
                    <a:cubicBezTo>
                      <a:pt x="932" y="621"/>
                      <a:pt x="931" y="623"/>
                      <a:pt x="930" y="624"/>
                    </a:cubicBezTo>
                    <a:cubicBezTo>
                      <a:pt x="986" y="786"/>
                      <a:pt x="986" y="786"/>
                      <a:pt x="986" y="786"/>
                    </a:cubicBezTo>
                    <a:cubicBezTo>
                      <a:pt x="1158" y="786"/>
                      <a:pt x="1158" y="786"/>
                      <a:pt x="1158" y="786"/>
                    </a:cubicBezTo>
                    <a:cubicBezTo>
                      <a:pt x="1119" y="718"/>
                      <a:pt x="1119" y="718"/>
                      <a:pt x="1119" y="718"/>
                    </a:cubicBezTo>
                    <a:cubicBezTo>
                      <a:pt x="1110" y="702"/>
                      <a:pt x="1112" y="682"/>
                      <a:pt x="1125" y="669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0" dirty="0"/>
              </a:p>
            </p:txBody>
          </p:sp>
        </p:grp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4951CD1F-401E-00AA-2ACB-186F9B9ECE63}"/>
              </a:ext>
            </a:extLst>
          </p:cNvPr>
          <p:cNvGrpSpPr>
            <a:grpSpLocks noChangeAspect="1"/>
          </p:cNvGrpSpPr>
          <p:nvPr/>
        </p:nvGrpSpPr>
        <p:grpSpPr>
          <a:xfrm>
            <a:off x="4326649" y="5832882"/>
            <a:ext cx="410243" cy="424618"/>
            <a:chOff x="5273801" y="2606040"/>
            <a:chExt cx="1644396" cy="1645920"/>
          </a:xfrm>
        </p:grpSpPr>
        <p:sp>
          <p:nvSpPr>
            <p:cNvPr id="244" name="AutoShape 13">
              <a:extLst>
                <a:ext uri="{FF2B5EF4-FFF2-40B4-BE49-F238E27FC236}">
                  <a16:creationId xmlns:a16="http://schemas.microsoft.com/office/drawing/2014/main" id="{FB2E6A77-7C3C-7174-1EBA-0E426333072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5309EB31-C02E-F1F1-FB57-FBFC35A19429}"/>
                </a:ext>
              </a:extLst>
            </p:cNvPr>
            <p:cNvGrpSpPr/>
            <p:nvPr/>
          </p:nvGrpSpPr>
          <p:grpSpPr>
            <a:xfrm>
              <a:off x="5428106" y="3007614"/>
              <a:ext cx="1337310" cy="1122807"/>
              <a:chOff x="5428106" y="3007614"/>
              <a:chExt cx="1337310" cy="1122807"/>
            </a:xfrm>
          </p:grpSpPr>
          <p:sp>
            <p:nvSpPr>
              <p:cNvPr id="246" name="Freeform 15">
                <a:extLst>
                  <a:ext uri="{FF2B5EF4-FFF2-40B4-BE49-F238E27FC236}">
                    <a16:creationId xmlns:a16="http://schemas.microsoft.com/office/drawing/2014/main" id="{F6F34317-1E3F-BFED-9276-AEFBE067EE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37072" y="3098292"/>
                <a:ext cx="1124331" cy="1032129"/>
              </a:xfrm>
              <a:custGeom>
                <a:avLst/>
                <a:gdLst>
                  <a:gd name="T0" fmla="*/ 1216 w 1575"/>
                  <a:gd name="T1" fmla="*/ 1445 h 1445"/>
                  <a:gd name="T2" fmla="*/ 328 w 1575"/>
                  <a:gd name="T3" fmla="*/ 1315 h 1445"/>
                  <a:gd name="T4" fmla="*/ 405 w 1575"/>
                  <a:gd name="T5" fmla="*/ 1250 h 1445"/>
                  <a:gd name="T6" fmla="*/ 1161 w 1575"/>
                  <a:gd name="T7" fmla="*/ 1250 h 1445"/>
                  <a:gd name="T8" fmla="*/ 1239 w 1575"/>
                  <a:gd name="T9" fmla="*/ 1315 h 1445"/>
                  <a:gd name="T10" fmla="*/ 266 w 1575"/>
                  <a:gd name="T11" fmla="*/ 0 h 1445"/>
                  <a:gd name="T12" fmla="*/ 72 w 1575"/>
                  <a:gd name="T13" fmla="*/ 172 h 1445"/>
                  <a:gd name="T14" fmla="*/ 260 w 1575"/>
                  <a:gd name="T15" fmla="*/ 174 h 1445"/>
                  <a:gd name="T16" fmla="*/ 242 w 1575"/>
                  <a:gd name="T17" fmla="*/ 249 h 1445"/>
                  <a:gd name="T18" fmla="*/ 38 w 1575"/>
                  <a:gd name="T19" fmla="*/ 439 h 1445"/>
                  <a:gd name="T20" fmla="*/ 235 w 1575"/>
                  <a:gd name="T21" fmla="*/ 441 h 1445"/>
                  <a:gd name="T22" fmla="*/ 217 w 1575"/>
                  <a:gd name="T23" fmla="*/ 523 h 1445"/>
                  <a:gd name="T24" fmla="*/ 0 w 1575"/>
                  <a:gd name="T25" fmla="*/ 733 h 1445"/>
                  <a:gd name="T26" fmla="*/ 208 w 1575"/>
                  <a:gd name="T27" fmla="*/ 735 h 1445"/>
                  <a:gd name="T28" fmla="*/ 507 w 1575"/>
                  <a:gd name="T29" fmla="*/ 0 h 1445"/>
                  <a:gd name="T30" fmla="*/ 320 w 1575"/>
                  <a:gd name="T31" fmla="*/ 173 h 1445"/>
                  <a:gd name="T32" fmla="*/ 509 w 1575"/>
                  <a:gd name="T33" fmla="*/ 174 h 1445"/>
                  <a:gd name="T34" fmla="*/ 494 w 1575"/>
                  <a:gd name="T35" fmla="*/ 249 h 1445"/>
                  <a:gd name="T36" fmla="*/ 298 w 1575"/>
                  <a:gd name="T37" fmla="*/ 440 h 1445"/>
                  <a:gd name="T38" fmla="*/ 495 w 1575"/>
                  <a:gd name="T39" fmla="*/ 441 h 1445"/>
                  <a:gd name="T40" fmla="*/ 481 w 1575"/>
                  <a:gd name="T41" fmla="*/ 523 h 1445"/>
                  <a:gd name="T42" fmla="*/ 273 w 1575"/>
                  <a:gd name="T43" fmla="*/ 734 h 1445"/>
                  <a:gd name="T44" fmla="*/ 481 w 1575"/>
                  <a:gd name="T45" fmla="*/ 735 h 1445"/>
                  <a:gd name="T46" fmla="*/ 748 w 1575"/>
                  <a:gd name="T47" fmla="*/ 0 h 1445"/>
                  <a:gd name="T48" fmla="*/ 569 w 1575"/>
                  <a:gd name="T49" fmla="*/ 173 h 1445"/>
                  <a:gd name="T50" fmla="*/ 757 w 1575"/>
                  <a:gd name="T51" fmla="*/ 173 h 1445"/>
                  <a:gd name="T52" fmla="*/ 747 w 1575"/>
                  <a:gd name="T53" fmla="*/ 249 h 1445"/>
                  <a:gd name="T54" fmla="*/ 558 w 1575"/>
                  <a:gd name="T55" fmla="*/ 440 h 1445"/>
                  <a:gd name="T56" fmla="*/ 756 w 1575"/>
                  <a:gd name="T57" fmla="*/ 440 h 1445"/>
                  <a:gd name="T58" fmla="*/ 745 w 1575"/>
                  <a:gd name="T59" fmla="*/ 523 h 1445"/>
                  <a:gd name="T60" fmla="*/ 547 w 1575"/>
                  <a:gd name="T61" fmla="*/ 734 h 1445"/>
                  <a:gd name="T62" fmla="*/ 754 w 1575"/>
                  <a:gd name="T63" fmla="*/ 734 h 1445"/>
                  <a:gd name="T64" fmla="*/ 989 w 1575"/>
                  <a:gd name="T65" fmla="*/ 0 h 1445"/>
                  <a:gd name="T66" fmla="*/ 817 w 1575"/>
                  <a:gd name="T67" fmla="*/ 173 h 1445"/>
                  <a:gd name="T68" fmla="*/ 1005 w 1575"/>
                  <a:gd name="T69" fmla="*/ 173 h 1445"/>
                  <a:gd name="T70" fmla="*/ 999 w 1575"/>
                  <a:gd name="T71" fmla="*/ 249 h 1445"/>
                  <a:gd name="T72" fmla="*/ 818 w 1575"/>
                  <a:gd name="T73" fmla="*/ 440 h 1445"/>
                  <a:gd name="T74" fmla="*/ 1016 w 1575"/>
                  <a:gd name="T75" fmla="*/ 440 h 1445"/>
                  <a:gd name="T76" fmla="*/ 1009 w 1575"/>
                  <a:gd name="T77" fmla="*/ 523 h 1445"/>
                  <a:gd name="T78" fmla="*/ 820 w 1575"/>
                  <a:gd name="T79" fmla="*/ 734 h 1445"/>
                  <a:gd name="T80" fmla="*/ 1027 w 1575"/>
                  <a:gd name="T81" fmla="*/ 734 h 1445"/>
                  <a:gd name="T82" fmla="*/ 1229 w 1575"/>
                  <a:gd name="T83" fmla="*/ 0 h 1445"/>
                  <a:gd name="T84" fmla="*/ 1065 w 1575"/>
                  <a:gd name="T85" fmla="*/ 174 h 1445"/>
                  <a:gd name="T86" fmla="*/ 1253 w 1575"/>
                  <a:gd name="T87" fmla="*/ 173 h 1445"/>
                  <a:gd name="T88" fmla="*/ 1251 w 1575"/>
                  <a:gd name="T89" fmla="*/ 249 h 1445"/>
                  <a:gd name="T90" fmla="*/ 1078 w 1575"/>
                  <a:gd name="T91" fmla="*/ 441 h 1445"/>
                  <a:gd name="T92" fmla="*/ 1276 w 1575"/>
                  <a:gd name="T93" fmla="*/ 440 h 1445"/>
                  <a:gd name="T94" fmla="*/ 1274 w 1575"/>
                  <a:gd name="T95" fmla="*/ 523 h 1445"/>
                  <a:gd name="T96" fmla="*/ 1093 w 1575"/>
                  <a:gd name="T97" fmla="*/ 735 h 1445"/>
                  <a:gd name="T98" fmla="*/ 1301 w 1575"/>
                  <a:gd name="T99" fmla="*/ 734 h 1445"/>
                  <a:gd name="T100" fmla="*/ 1470 w 1575"/>
                  <a:gd name="T101" fmla="*/ 0 h 1445"/>
                  <a:gd name="T102" fmla="*/ 1313 w 1575"/>
                  <a:gd name="T103" fmla="*/ 174 h 1445"/>
                  <a:gd name="T104" fmla="*/ 1501 w 1575"/>
                  <a:gd name="T105" fmla="*/ 172 h 1445"/>
                  <a:gd name="T106" fmla="*/ 1503 w 1575"/>
                  <a:gd name="T107" fmla="*/ 249 h 1445"/>
                  <a:gd name="T108" fmla="*/ 1339 w 1575"/>
                  <a:gd name="T109" fmla="*/ 441 h 1445"/>
                  <a:gd name="T110" fmla="*/ 1536 w 1575"/>
                  <a:gd name="T111" fmla="*/ 439 h 1445"/>
                  <a:gd name="T112" fmla="*/ 1538 w 1575"/>
                  <a:gd name="T113" fmla="*/ 523 h 1445"/>
                  <a:gd name="T114" fmla="*/ 1367 w 1575"/>
                  <a:gd name="T115" fmla="*/ 735 h 1445"/>
                  <a:gd name="T116" fmla="*/ 1574 w 1575"/>
                  <a:gd name="T117" fmla="*/ 733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75" h="1445">
                    <a:moveTo>
                      <a:pt x="1239" y="1315"/>
                    </a:moveTo>
                    <a:cubicBezTo>
                      <a:pt x="1239" y="1422"/>
                      <a:pt x="1239" y="1422"/>
                      <a:pt x="1239" y="1422"/>
                    </a:cubicBezTo>
                    <a:cubicBezTo>
                      <a:pt x="1239" y="1434"/>
                      <a:pt x="1228" y="1445"/>
                      <a:pt x="1216" y="1445"/>
                    </a:cubicBezTo>
                    <a:cubicBezTo>
                      <a:pt x="351" y="1445"/>
                      <a:pt x="351" y="1445"/>
                      <a:pt x="351" y="1445"/>
                    </a:cubicBezTo>
                    <a:cubicBezTo>
                      <a:pt x="338" y="1445"/>
                      <a:pt x="328" y="1434"/>
                      <a:pt x="328" y="1422"/>
                    </a:cubicBezTo>
                    <a:cubicBezTo>
                      <a:pt x="328" y="1315"/>
                      <a:pt x="328" y="1315"/>
                      <a:pt x="328" y="1315"/>
                    </a:cubicBezTo>
                    <a:cubicBezTo>
                      <a:pt x="328" y="1303"/>
                      <a:pt x="338" y="1292"/>
                      <a:pt x="351" y="1292"/>
                    </a:cubicBezTo>
                    <a:cubicBezTo>
                      <a:pt x="405" y="1292"/>
                      <a:pt x="405" y="1292"/>
                      <a:pt x="405" y="1292"/>
                    </a:cubicBezTo>
                    <a:cubicBezTo>
                      <a:pt x="405" y="1250"/>
                      <a:pt x="405" y="1250"/>
                      <a:pt x="405" y="1250"/>
                    </a:cubicBezTo>
                    <a:cubicBezTo>
                      <a:pt x="405" y="1237"/>
                      <a:pt x="415" y="1227"/>
                      <a:pt x="428" y="1227"/>
                    </a:cubicBezTo>
                    <a:cubicBezTo>
                      <a:pt x="1138" y="1227"/>
                      <a:pt x="1138" y="1227"/>
                      <a:pt x="1138" y="1227"/>
                    </a:cubicBezTo>
                    <a:cubicBezTo>
                      <a:pt x="1151" y="1227"/>
                      <a:pt x="1161" y="1237"/>
                      <a:pt x="1161" y="1250"/>
                    </a:cubicBezTo>
                    <a:cubicBezTo>
                      <a:pt x="1161" y="1292"/>
                      <a:pt x="1161" y="1292"/>
                      <a:pt x="1161" y="1292"/>
                    </a:cubicBezTo>
                    <a:cubicBezTo>
                      <a:pt x="1216" y="1292"/>
                      <a:pt x="1216" y="1292"/>
                      <a:pt x="1216" y="1292"/>
                    </a:cubicBezTo>
                    <a:cubicBezTo>
                      <a:pt x="1228" y="1292"/>
                      <a:pt x="1239" y="1303"/>
                      <a:pt x="1239" y="1315"/>
                    </a:cubicBezTo>
                    <a:close/>
                    <a:moveTo>
                      <a:pt x="260" y="174"/>
                    </a:moveTo>
                    <a:cubicBezTo>
                      <a:pt x="276" y="11"/>
                      <a:pt x="276" y="11"/>
                      <a:pt x="276" y="11"/>
                    </a:cubicBezTo>
                    <a:cubicBezTo>
                      <a:pt x="276" y="5"/>
                      <a:pt x="272" y="0"/>
                      <a:pt x="266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98" y="0"/>
                      <a:pt x="94" y="4"/>
                      <a:pt x="93" y="9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78"/>
                      <a:pt x="76" y="183"/>
                      <a:pt x="82" y="183"/>
                    </a:cubicBezTo>
                    <a:cubicBezTo>
                      <a:pt x="251" y="183"/>
                      <a:pt x="251" y="183"/>
                      <a:pt x="251" y="183"/>
                    </a:cubicBezTo>
                    <a:cubicBezTo>
                      <a:pt x="256" y="183"/>
                      <a:pt x="260" y="179"/>
                      <a:pt x="260" y="174"/>
                    </a:cubicBezTo>
                    <a:close/>
                    <a:moveTo>
                      <a:pt x="235" y="441"/>
                    </a:moveTo>
                    <a:cubicBezTo>
                      <a:pt x="252" y="260"/>
                      <a:pt x="252" y="260"/>
                      <a:pt x="252" y="260"/>
                    </a:cubicBezTo>
                    <a:cubicBezTo>
                      <a:pt x="253" y="254"/>
                      <a:pt x="248" y="249"/>
                      <a:pt x="242" y="249"/>
                    </a:cubicBezTo>
                    <a:cubicBezTo>
                      <a:pt x="71" y="249"/>
                      <a:pt x="71" y="249"/>
                      <a:pt x="71" y="249"/>
                    </a:cubicBezTo>
                    <a:cubicBezTo>
                      <a:pt x="66" y="249"/>
                      <a:pt x="62" y="253"/>
                      <a:pt x="61" y="258"/>
                    </a:cubicBezTo>
                    <a:cubicBezTo>
                      <a:pt x="38" y="439"/>
                      <a:pt x="38" y="439"/>
                      <a:pt x="38" y="439"/>
                    </a:cubicBezTo>
                    <a:cubicBezTo>
                      <a:pt x="37" y="445"/>
                      <a:pt x="42" y="450"/>
                      <a:pt x="48" y="450"/>
                    </a:cubicBezTo>
                    <a:cubicBezTo>
                      <a:pt x="225" y="450"/>
                      <a:pt x="225" y="450"/>
                      <a:pt x="225" y="450"/>
                    </a:cubicBezTo>
                    <a:cubicBezTo>
                      <a:pt x="230" y="450"/>
                      <a:pt x="235" y="446"/>
                      <a:pt x="235" y="441"/>
                    </a:cubicBezTo>
                    <a:close/>
                    <a:moveTo>
                      <a:pt x="208" y="735"/>
                    </a:moveTo>
                    <a:cubicBezTo>
                      <a:pt x="227" y="534"/>
                      <a:pt x="227" y="534"/>
                      <a:pt x="227" y="534"/>
                    </a:cubicBezTo>
                    <a:cubicBezTo>
                      <a:pt x="227" y="528"/>
                      <a:pt x="223" y="523"/>
                      <a:pt x="217" y="523"/>
                    </a:cubicBezTo>
                    <a:cubicBezTo>
                      <a:pt x="36" y="523"/>
                      <a:pt x="36" y="523"/>
                      <a:pt x="36" y="523"/>
                    </a:cubicBezTo>
                    <a:cubicBezTo>
                      <a:pt x="31" y="523"/>
                      <a:pt x="27" y="527"/>
                      <a:pt x="26" y="532"/>
                    </a:cubicBezTo>
                    <a:cubicBezTo>
                      <a:pt x="0" y="733"/>
                      <a:pt x="0" y="733"/>
                      <a:pt x="0" y="733"/>
                    </a:cubicBezTo>
                    <a:cubicBezTo>
                      <a:pt x="0" y="739"/>
                      <a:pt x="4" y="744"/>
                      <a:pt x="10" y="744"/>
                    </a:cubicBezTo>
                    <a:cubicBezTo>
                      <a:pt x="198" y="744"/>
                      <a:pt x="198" y="744"/>
                      <a:pt x="198" y="744"/>
                    </a:cubicBezTo>
                    <a:cubicBezTo>
                      <a:pt x="203" y="744"/>
                      <a:pt x="207" y="741"/>
                      <a:pt x="208" y="735"/>
                    </a:cubicBezTo>
                    <a:close/>
                    <a:moveTo>
                      <a:pt x="509" y="174"/>
                    </a:moveTo>
                    <a:cubicBezTo>
                      <a:pt x="517" y="10"/>
                      <a:pt x="517" y="10"/>
                      <a:pt x="517" y="10"/>
                    </a:cubicBezTo>
                    <a:cubicBezTo>
                      <a:pt x="517" y="5"/>
                      <a:pt x="513" y="0"/>
                      <a:pt x="507" y="0"/>
                    </a:cubicBezTo>
                    <a:cubicBezTo>
                      <a:pt x="344" y="0"/>
                      <a:pt x="344" y="0"/>
                      <a:pt x="344" y="0"/>
                    </a:cubicBezTo>
                    <a:cubicBezTo>
                      <a:pt x="339" y="0"/>
                      <a:pt x="334" y="4"/>
                      <a:pt x="334" y="9"/>
                    </a:cubicBezTo>
                    <a:cubicBezTo>
                      <a:pt x="320" y="173"/>
                      <a:pt x="320" y="173"/>
                      <a:pt x="320" y="173"/>
                    </a:cubicBezTo>
                    <a:cubicBezTo>
                      <a:pt x="320" y="178"/>
                      <a:pt x="325" y="183"/>
                      <a:pt x="330" y="183"/>
                    </a:cubicBezTo>
                    <a:cubicBezTo>
                      <a:pt x="499" y="183"/>
                      <a:pt x="499" y="183"/>
                      <a:pt x="499" y="183"/>
                    </a:cubicBezTo>
                    <a:cubicBezTo>
                      <a:pt x="504" y="183"/>
                      <a:pt x="508" y="179"/>
                      <a:pt x="509" y="174"/>
                    </a:cubicBezTo>
                    <a:close/>
                    <a:moveTo>
                      <a:pt x="495" y="441"/>
                    </a:moveTo>
                    <a:cubicBezTo>
                      <a:pt x="504" y="260"/>
                      <a:pt x="504" y="260"/>
                      <a:pt x="504" y="260"/>
                    </a:cubicBezTo>
                    <a:cubicBezTo>
                      <a:pt x="505" y="254"/>
                      <a:pt x="500" y="249"/>
                      <a:pt x="494" y="249"/>
                    </a:cubicBezTo>
                    <a:cubicBezTo>
                      <a:pt x="323" y="249"/>
                      <a:pt x="323" y="249"/>
                      <a:pt x="323" y="249"/>
                    </a:cubicBezTo>
                    <a:cubicBezTo>
                      <a:pt x="318" y="249"/>
                      <a:pt x="314" y="253"/>
                      <a:pt x="313" y="258"/>
                    </a:cubicBezTo>
                    <a:cubicBezTo>
                      <a:pt x="298" y="440"/>
                      <a:pt x="298" y="440"/>
                      <a:pt x="298" y="440"/>
                    </a:cubicBezTo>
                    <a:cubicBezTo>
                      <a:pt x="298" y="445"/>
                      <a:pt x="302" y="450"/>
                      <a:pt x="308" y="450"/>
                    </a:cubicBezTo>
                    <a:cubicBezTo>
                      <a:pt x="485" y="450"/>
                      <a:pt x="485" y="450"/>
                      <a:pt x="485" y="450"/>
                    </a:cubicBezTo>
                    <a:cubicBezTo>
                      <a:pt x="491" y="450"/>
                      <a:pt x="495" y="446"/>
                      <a:pt x="495" y="441"/>
                    </a:cubicBezTo>
                    <a:close/>
                    <a:moveTo>
                      <a:pt x="481" y="735"/>
                    </a:moveTo>
                    <a:cubicBezTo>
                      <a:pt x="491" y="533"/>
                      <a:pt x="491" y="533"/>
                      <a:pt x="491" y="533"/>
                    </a:cubicBezTo>
                    <a:cubicBezTo>
                      <a:pt x="491" y="528"/>
                      <a:pt x="487" y="523"/>
                      <a:pt x="481" y="523"/>
                    </a:cubicBezTo>
                    <a:cubicBezTo>
                      <a:pt x="300" y="523"/>
                      <a:pt x="300" y="523"/>
                      <a:pt x="300" y="523"/>
                    </a:cubicBezTo>
                    <a:cubicBezTo>
                      <a:pt x="295" y="523"/>
                      <a:pt x="291" y="527"/>
                      <a:pt x="290" y="532"/>
                    </a:cubicBezTo>
                    <a:cubicBezTo>
                      <a:pt x="273" y="734"/>
                      <a:pt x="273" y="734"/>
                      <a:pt x="273" y="734"/>
                    </a:cubicBezTo>
                    <a:cubicBezTo>
                      <a:pt x="273" y="739"/>
                      <a:pt x="278" y="744"/>
                      <a:pt x="283" y="744"/>
                    </a:cubicBezTo>
                    <a:cubicBezTo>
                      <a:pt x="471" y="744"/>
                      <a:pt x="471" y="744"/>
                      <a:pt x="471" y="744"/>
                    </a:cubicBezTo>
                    <a:cubicBezTo>
                      <a:pt x="476" y="744"/>
                      <a:pt x="481" y="740"/>
                      <a:pt x="481" y="735"/>
                    </a:cubicBezTo>
                    <a:close/>
                    <a:moveTo>
                      <a:pt x="757" y="173"/>
                    </a:moveTo>
                    <a:cubicBezTo>
                      <a:pt x="758" y="10"/>
                      <a:pt x="758" y="10"/>
                      <a:pt x="758" y="10"/>
                    </a:cubicBezTo>
                    <a:cubicBezTo>
                      <a:pt x="758" y="4"/>
                      <a:pt x="753" y="0"/>
                      <a:pt x="748" y="0"/>
                    </a:cubicBezTo>
                    <a:cubicBezTo>
                      <a:pt x="585" y="0"/>
                      <a:pt x="585" y="0"/>
                      <a:pt x="585" y="0"/>
                    </a:cubicBezTo>
                    <a:cubicBezTo>
                      <a:pt x="579" y="0"/>
                      <a:pt x="575" y="4"/>
                      <a:pt x="575" y="10"/>
                    </a:cubicBezTo>
                    <a:cubicBezTo>
                      <a:pt x="569" y="173"/>
                      <a:pt x="569" y="173"/>
                      <a:pt x="569" y="173"/>
                    </a:cubicBezTo>
                    <a:cubicBezTo>
                      <a:pt x="568" y="179"/>
                      <a:pt x="573" y="183"/>
                      <a:pt x="579" y="183"/>
                    </a:cubicBezTo>
                    <a:cubicBezTo>
                      <a:pt x="747" y="183"/>
                      <a:pt x="747" y="183"/>
                      <a:pt x="747" y="183"/>
                    </a:cubicBezTo>
                    <a:cubicBezTo>
                      <a:pt x="752" y="183"/>
                      <a:pt x="757" y="179"/>
                      <a:pt x="757" y="173"/>
                    </a:cubicBezTo>
                    <a:close/>
                    <a:moveTo>
                      <a:pt x="756" y="440"/>
                    </a:moveTo>
                    <a:cubicBezTo>
                      <a:pt x="757" y="259"/>
                      <a:pt x="757" y="259"/>
                      <a:pt x="757" y="259"/>
                    </a:cubicBezTo>
                    <a:cubicBezTo>
                      <a:pt x="757" y="254"/>
                      <a:pt x="752" y="249"/>
                      <a:pt x="747" y="249"/>
                    </a:cubicBezTo>
                    <a:cubicBezTo>
                      <a:pt x="575" y="249"/>
                      <a:pt x="575" y="249"/>
                      <a:pt x="575" y="249"/>
                    </a:cubicBezTo>
                    <a:cubicBezTo>
                      <a:pt x="570" y="249"/>
                      <a:pt x="565" y="254"/>
                      <a:pt x="565" y="259"/>
                    </a:cubicBezTo>
                    <a:cubicBezTo>
                      <a:pt x="558" y="440"/>
                      <a:pt x="558" y="440"/>
                      <a:pt x="558" y="440"/>
                    </a:cubicBezTo>
                    <a:cubicBezTo>
                      <a:pt x="558" y="446"/>
                      <a:pt x="562" y="450"/>
                      <a:pt x="568" y="450"/>
                    </a:cubicBezTo>
                    <a:cubicBezTo>
                      <a:pt x="746" y="450"/>
                      <a:pt x="746" y="450"/>
                      <a:pt x="746" y="450"/>
                    </a:cubicBezTo>
                    <a:cubicBezTo>
                      <a:pt x="751" y="450"/>
                      <a:pt x="756" y="446"/>
                      <a:pt x="756" y="440"/>
                    </a:cubicBezTo>
                    <a:close/>
                    <a:moveTo>
                      <a:pt x="754" y="734"/>
                    </a:moveTo>
                    <a:cubicBezTo>
                      <a:pt x="755" y="533"/>
                      <a:pt x="755" y="533"/>
                      <a:pt x="755" y="533"/>
                    </a:cubicBezTo>
                    <a:cubicBezTo>
                      <a:pt x="755" y="527"/>
                      <a:pt x="751" y="523"/>
                      <a:pt x="745" y="523"/>
                    </a:cubicBezTo>
                    <a:cubicBezTo>
                      <a:pt x="565" y="523"/>
                      <a:pt x="565" y="523"/>
                      <a:pt x="565" y="523"/>
                    </a:cubicBezTo>
                    <a:cubicBezTo>
                      <a:pt x="559" y="523"/>
                      <a:pt x="555" y="527"/>
                      <a:pt x="555" y="532"/>
                    </a:cubicBezTo>
                    <a:cubicBezTo>
                      <a:pt x="547" y="734"/>
                      <a:pt x="547" y="734"/>
                      <a:pt x="547" y="734"/>
                    </a:cubicBezTo>
                    <a:cubicBezTo>
                      <a:pt x="546" y="740"/>
                      <a:pt x="551" y="744"/>
                      <a:pt x="557" y="744"/>
                    </a:cubicBezTo>
                    <a:cubicBezTo>
                      <a:pt x="744" y="744"/>
                      <a:pt x="744" y="744"/>
                      <a:pt x="744" y="744"/>
                    </a:cubicBezTo>
                    <a:cubicBezTo>
                      <a:pt x="750" y="744"/>
                      <a:pt x="754" y="740"/>
                      <a:pt x="754" y="734"/>
                    </a:cubicBezTo>
                    <a:close/>
                    <a:moveTo>
                      <a:pt x="1005" y="173"/>
                    </a:moveTo>
                    <a:cubicBezTo>
                      <a:pt x="999" y="10"/>
                      <a:pt x="999" y="10"/>
                      <a:pt x="999" y="10"/>
                    </a:cubicBezTo>
                    <a:cubicBezTo>
                      <a:pt x="998" y="4"/>
                      <a:pt x="994" y="0"/>
                      <a:pt x="989" y="0"/>
                    </a:cubicBezTo>
                    <a:cubicBezTo>
                      <a:pt x="826" y="0"/>
                      <a:pt x="826" y="0"/>
                      <a:pt x="826" y="0"/>
                    </a:cubicBezTo>
                    <a:cubicBezTo>
                      <a:pt x="820" y="0"/>
                      <a:pt x="816" y="4"/>
                      <a:pt x="816" y="10"/>
                    </a:cubicBezTo>
                    <a:cubicBezTo>
                      <a:pt x="817" y="173"/>
                      <a:pt x="817" y="173"/>
                      <a:pt x="817" y="173"/>
                    </a:cubicBezTo>
                    <a:cubicBezTo>
                      <a:pt x="817" y="179"/>
                      <a:pt x="821" y="183"/>
                      <a:pt x="827" y="183"/>
                    </a:cubicBezTo>
                    <a:cubicBezTo>
                      <a:pt x="995" y="183"/>
                      <a:pt x="995" y="183"/>
                      <a:pt x="995" y="183"/>
                    </a:cubicBezTo>
                    <a:cubicBezTo>
                      <a:pt x="1001" y="183"/>
                      <a:pt x="1005" y="179"/>
                      <a:pt x="1005" y="173"/>
                    </a:cubicBezTo>
                    <a:close/>
                    <a:moveTo>
                      <a:pt x="1016" y="440"/>
                    </a:moveTo>
                    <a:cubicBezTo>
                      <a:pt x="1009" y="259"/>
                      <a:pt x="1009" y="259"/>
                      <a:pt x="1009" y="259"/>
                    </a:cubicBezTo>
                    <a:cubicBezTo>
                      <a:pt x="1008" y="254"/>
                      <a:pt x="1004" y="249"/>
                      <a:pt x="999" y="249"/>
                    </a:cubicBezTo>
                    <a:cubicBezTo>
                      <a:pt x="827" y="249"/>
                      <a:pt x="827" y="249"/>
                      <a:pt x="827" y="249"/>
                    </a:cubicBezTo>
                    <a:cubicBezTo>
                      <a:pt x="822" y="249"/>
                      <a:pt x="817" y="254"/>
                      <a:pt x="817" y="259"/>
                    </a:cubicBezTo>
                    <a:cubicBezTo>
                      <a:pt x="818" y="440"/>
                      <a:pt x="818" y="440"/>
                      <a:pt x="818" y="440"/>
                    </a:cubicBezTo>
                    <a:cubicBezTo>
                      <a:pt x="818" y="446"/>
                      <a:pt x="823" y="450"/>
                      <a:pt x="828" y="450"/>
                    </a:cubicBezTo>
                    <a:cubicBezTo>
                      <a:pt x="1006" y="450"/>
                      <a:pt x="1006" y="450"/>
                      <a:pt x="1006" y="450"/>
                    </a:cubicBezTo>
                    <a:cubicBezTo>
                      <a:pt x="1011" y="450"/>
                      <a:pt x="1016" y="446"/>
                      <a:pt x="1016" y="440"/>
                    </a:cubicBezTo>
                    <a:close/>
                    <a:moveTo>
                      <a:pt x="1027" y="734"/>
                    </a:moveTo>
                    <a:cubicBezTo>
                      <a:pt x="1019" y="532"/>
                      <a:pt x="1019" y="532"/>
                      <a:pt x="1019" y="532"/>
                    </a:cubicBezTo>
                    <a:cubicBezTo>
                      <a:pt x="1019" y="527"/>
                      <a:pt x="1015" y="523"/>
                      <a:pt x="1009" y="523"/>
                    </a:cubicBezTo>
                    <a:cubicBezTo>
                      <a:pt x="829" y="523"/>
                      <a:pt x="829" y="523"/>
                      <a:pt x="829" y="523"/>
                    </a:cubicBezTo>
                    <a:cubicBezTo>
                      <a:pt x="823" y="523"/>
                      <a:pt x="819" y="527"/>
                      <a:pt x="819" y="533"/>
                    </a:cubicBezTo>
                    <a:cubicBezTo>
                      <a:pt x="820" y="734"/>
                      <a:pt x="820" y="734"/>
                      <a:pt x="820" y="734"/>
                    </a:cubicBezTo>
                    <a:cubicBezTo>
                      <a:pt x="820" y="740"/>
                      <a:pt x="824" y="744"/>
                      <a:pt x="830" y="744"/>
                    </a:cubicBezTo>
                    <a:cubicBezTo>
                      <a:pt x="1017" y="744"/>
                      <a:pt x="1017" y="744"/>
                      <a:pt x="1017" y="744"/>
                    </a:cubicBezTo>
                    <a:cubicBezTo>
                      <a:pt x="1023" y="744"/>
                      <a:pt x="1028" y="740"/>
                      <a:pt x="1027" y="734"/>
                    </a:cubicBezTo>
                    <a:close/>
                    <a:moveTo>
                      <a:pt x="1253" y="173"/>
                    </a:moveTo>
                    <a:cubicBezTo>
                      <a:pt x="1239" y="9"/>
                      <a:pt x="1239" y="9"/>
                      <a:pt x="1239" y="9"/>
                    </a:cubicBezTo>
                    <a:cubicBezTo>
                      <a:pt x="1239" y="4"/>
                      <a:pt x="1235" y="0"/>
                      <a:pt x="1229" y="0"/>
                    </a:cubicBezTo>
                    <a:cubicBezTo>
                      <a:pt x="1067" y="0"/>
                      <a:pt x="1067" y="0"/>
                      <a:pt x="1067" y="0"/>
                    </a:cubicBezTo>
                    <a:cubicBezTo>
                      <a:pt x="1061" y="0"/>
                      <a:pt x="1056" y="5"/>
                      <a:pt x="1057" y="10"/>
                    </a:cubicBezTo>
                    <a:cubicBezTo>
                      <a:pt x="1065" y="174"/>
                      <a:pt x="1065" y="174"/>
                      <a:pt x="1065" y="174"/>
                    </a:cubicBezTo>
                    <a:cubicBezTo>
                      <a:pt x="1065" y="179"/>
                      <a:pt x="1070" y="183"/>
                      <a:pt x="1075" y="183"/>
                    </a:cubicBezTo>
                    <a:cubicBezTo>
                      <a:pt x="1243" y="183"/>
                      <a:pt x="1243" y="183"/>
                      <a:pt x="1243" y="183"/>
                    </a:cubicBezTo>
                    <a:cubicBezTo>
                      <a:pt x="1249" y="183"/>
                      <a:pt x="1254" y="178"/>
                      <a:pt x="1253" y="173"/>
                    </a:cubicBezTo>
                    <a:close/>
                    <a:moveTo>
                      <a:pt x="1276" y="440"/>
                    </a:moveTo>
                    <a:cubicBezTo>
                      <a:pt x="1260" y="258"/>
                      <a:pt x="1260" y="258"/>
                      <a:pt x="1260" y="258"/>
                    </a:cubicBezTo>
                    <a:cubicBezTo>
                      <a:pt x="1260" y="253"/>
                      <a:pt x="1256" y="249"/>
                      <a:pt x="1251" y="249"/>
                    </a:cubicBezTo>
                    <a:cubicBezTo>
                      <a:pt x="1079" y="249"/>
                      <a:pt x="1079" y="249"/>
                      <a:pt x="1079" y="249"/>
                    </a:cubicBezTo>
                    <a:cubicBezTo>
                      <a:pt x="1073" y="249"/>
                      <a:pt x="1069" y="254"/>
                      <a:pt x="1069" y="260"/>
                    </a:cubicBezTo>
                    <a:cubicBezTo>
                      <a:pt x="1078" y="441"/>
                      <a:pt x="1078" y="441"/>
                      <a:pt x="1078" y="441"/>
                    </a:cubicBezTo>
                    <a:cubicBezTo>
                      <a:pt x="1079" y="446"/>
                      <a:pt x="1083" y="450"/>
                      <a:pt x="1088" y="450"/>
                    </a:cubicBezTo>
                    <a:cubicBezTo>
                      <a:pt x="1266" y="450"/>
                      <a:pt x="1266" y="450"/>
                      <a:pt x="1266" y="450"/>
                    </a:cubicBezTo>
                    <a:cubicBezTo>
                      <a:pt x="1272" y="450"/>
                      <a:pt x="1276" y="445"/>
                      <a:pt x="1276" y="440"/>
                    </a:cubicBezTo>
                    <a:close/>
                    <a:moveTo>
                      <a:pt x="1301" y="734"/>
                    </a:moveTo>
                    <a:cubicBezTo>
                      <a:pt x="1284" y="532"/>
                      <a:pt x="1284" y="532"/>
                      <a:pt x="1284" y="532"/>
                    </a:cubicBezTo>
                    <a:cubicBezTo>
                      <a:pt x="1283" y="527"/>
                      <a:pt x="1279" y="523"/>
                      <a:pt x="1274" y="523"/>
                    </a:cubicBezTo>
                    <a:cubicBezTo>
                      <a:pt x="1093" y="523"/>
                      <a:pt x="1093" y="523"/>
                      <a:pt x="1093" y="523"/>
                    </a:cubicBezTo>
                    <a:cubicBezTo>
                      <a:pt x="1087" y="523"/>
                      <a:pt x="1083" y="528"/>
                      <a:pt x="1083" y="533"/>
                    </a:cubicBezTo>
                    <a:cubicBezTo>
                      <a:pt x="1093" y="735"/>
                      <a:pt x="1093" y="735"/>
                      <a:pt x="1093" y="735"/>
                    </a:cubicBezTo>
                    <a:cubicBezTo>
                      <a:pt x="1094" y="740"/>
                      <a:pt x="1098" y="744"/>
                      <a:pt x="1103" y="744"/>
                    </a:cubicBezTo>
                    <a:cubicBezTo>
                      <a:pt x="1291" y="744"/>
                      <a:pt x="1291" y="744"/>
                      <a:pt x="1291" y="744"/>
                    </a:cubicBezTo>
                    <a:cubicBezTo>
                      <a:pt x="1297" y="744"/>
                      <a:pt x="1301" y="739"/>
                      <a:pt x="1301" y="734"/>
                    </a:cubicBezTo>
                    <a:close/>
                    <a:moveTo>
                      <a:pt x="1501" y="172"/>
                    </a:moveTo>
                    <a:cubicBezTo>
                      <a:pt x="1480" y="9"/>
                      <a:pt x="1480" y="9"/>
                      <a:pt x="1480" y="9"/>
                    </a:cubicBezTo>
                    <a:cubicBezTo>
                      <a:pt x="1480" y="4"/>
                      <a:pt x="1475" y="0"/>
                      <a:pt x="1470" y="0"/>
                    </a:cubicBezTo>
                    <a:cubicBezTo>
                      <a:pt x="1307" y="0"/>
                      <a:pt x="1307" y="0"/>
                      <a:pt x="1307" y="0"/>
                    </a:cubicBezTo>
                    <a:cubicBezTo>
                      <a:pt x="1302" y="0"/>
                      <a:pt x="1297" y="5"/>
                      <a:pt x="1298" y="11"/>
                    </a:cubicBezTo>
                    <a:cubicBezTo>
                      <a:pt x="1313" y="174"/>
                      <a:pt x="1313" y="174"/>
                      <a:pt x="1313" y="174"/>
                    </a:cubicBezTo>
                    <a:cubicBezTo>
                      <a:pt x="1314" y="179"/>
                      <a:pt x="1318" y="183"/>
                      <a:pt x="1323" y="183"/>
                    </a:cubicBezTo>
                    <a:cubicBezTo>
                      <a:pt x="1491" y="183"/>
                      <a:pt x="1491" y="183"/>
                      <a:pt x="1491" y="183"/>
                    </a:cubicBezTo>
                    <a:cubicBezTo>
                      <a:pt x="1497" y="183"/>
                      <a:pt x="1502" y="178"/>
                      <a:pt x="1501" y="172"/>
                    </a:cubicBezTo>
                    <a:close/>
                    <a:moveTo>
                      <a:pt x="1536" y="439"/>
                    </a:moveTo>
                    <a:cubicBezTo>
                      <a:pt x="1512" y="258"/>
                      <a:pt x="1512" y="258"/>
                      <a:pt x="1512" y="258"/>
                    </a:cubicBezTo>
                    <a:cubicBezTo>
                      <a:pt x="1512" y="253"/>
                      <a:pt x="1508" y="249"/>
                      <a:pt x="1503" y="249"/>
                    </a:cubicBezTo>
                    <a:cubicBezTo>
                      <a:pt x="1331" y="249"/>
                      <a:pt x="1331" y="249"/>
                      <a:pt x="1331" y="249"/>
                    </a:cubicBezTo>
                    <a:cubicBezTo>
                      <a:pt x="1325" y="249"/>
                      <a:pt x="1321" y="254"/>
                      <a:pt x="1321" y="260"/>
                    </a:cubicBezTo>
                    <a:cubicBezTo>
                      <a:pt x="1339" y="441"/>
                      <a:pt x="1339" y="441"/>
                      <a:pt x="1339" y="441"/>
                    </a:cubicBezTo>
                    <a:cubicBezTo>
                      <a:pt x="1339" y="446"/>
                      <a:pt x="1343" y="450"/>
                      <a:pt x="1349" y="450"/>
                    </a:cubicBezTo>
                    <a:cubicBezTo>
                      <a:pt x="1526" y="450"/>
                      <a:pt x="1526" y="450"/>
                      <a:pt x="1526" y="450"/>
                    </a:cubicBezTo>
                    <a:cubicBezTo>
                      <a:pt x="1532" y="450"/>
                      <a:pt x="1537" y="445"/>
                      <a:pt x="1536" y="439"/>
                    </a:cubicBezTo>
                    <a:close/>
                    <a:moveTo>
                      <a:pt x="1574" y="733"/>
                    </a:moveTo>
                    <a:cubicBezTo>
                      <a:pt x="1548" y="532"/>
                      <a:pt x="1548" y="532"/>
                      <a:pt x="1548" y="532"/>
                    </a:cubicBezTo>
                    <a:cubicBezTo>
                      <a:pt x="1547" y="527"/>
                      <a:pt x="1543" y="523"/>
                      <a:pt x="1538" y="523"/>
                    </a:cubicBezTo>
                    <a:cubicBezTo>
                      <a:pt x="1357" y="523"/>
                      <a:pt x="1357" y="523"/>
                      <a:pt x="1357" y="523"/>
                    </a:cubicBezTo>
                    <a:cubicBezTo>
                      <a:pt x="1351" y="523"/>
                      <a:pt x="1347" y="528"/>
                      <a:pt x="1347" y="534"/>
                    </a:cubicBezTo>
                    <a:cubicBezTo>
                      <a:pt x="1367" y="735"/>
                      <a:pt x="1367" y="735"/>
                      <a:pt x="1367" y="735"/>
                    </a:cubicBezTo>
                    <a:cubicBezTo>
                      <a:pt x="1367" y="741"/>
                      <a:pt x="1371" y="744"/>
                      <a:pt x="1377" y="744"/>
                    </a:cubicBezTo>
                    <a:cubicBezTo>
                      <a:pt x="1564" y="744"/>
                      <a:pt x="1564" y="744"/>
                      <a:pt x="1564" y="744"/>
                    </a:cubicBezTo>
                    <a:cubicBezTo>
                      <a:pt x="1570" y="744"/>
                      <a:pt x="1575" y="739"/>
                      <a:pt x="1574" y="73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16">
                <a:extLst>
                  <a:ext uri="{FF2B5EF4-FFF2-40B4-BE49-F238E27FC236}">
                    <a16:creationId xmlns:a16="http://schemas.microsoft.com/office/drawing/2014/main" id="{CA10410C-F0F7-7A18-A7C0-E8B3F2AA8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8106" y="3007614"/>
                <a:ext cx="1337310" cy="933450"/>
              </a:xfrm>
              <a:custGeom>
                <a:avLst/>
                <a:gdLst>
                  <a:gd name="T0" fmla="*/ 1873 w 1874"/>
                  <a:gd name="T1" fmla="*/ 1010 h 1307"/>
                  <a:gd name="T2" fmla="*/ 1728 w 1874"/>
                  <a:gd name="T3" fmla="*/ 19 h 1307"/>
                  <a:gd name="T4" fmla="*/ 1706 w 1874"/>
                  <a:gd name="T5" fmla="*/ 0 h 1307"/>
                  <a:gd name="T6" fmla="*/ 168 w 1874"/>
                  <a:gd name="T7" fmla="*/ 0 h 1307"/>
                  <a:gd name="T8" fmla="*/ 146 w 1874"/>
                  <a:gd name="T9" fmla="*/ 19 h 1307"/>
                  <a:gd name="T10" fmla="*/ 1 w 1874"/>
                  <a:gd name="T11" fmla="*/ 1010 h 1307"/>
                  <a:gd name="T12" fmla="*/ 6 w 1874"/>
                  <a:gd name="T13" fmla="*/ 1027 h 1307"/>
                  <a:gd name="T14" fmla="*/ 23 w 1874"/>
                  <a:gd name="T15" fmla="*/ 1035 h 1307"/>
                  <a:gd name="T16" fmla="*/ 855 w 1874"/>
                  <a:gd name="T17" fmla="*/ 1035 h 1307"/>
                  <a:gd name="T18" fmla="*/ 855 w 1874"/>
                  <a:gd name="T19" fmla="*/ 1037 h 1307"/>
                  <a:gd name="T20" fmla="*/ 855 w 1874"/>
                  <a:gd name="T21" fmla="*/ 1307 h 1307"/>
                  <a:gd name="T22" fmla="*/ 899 w 1874"/>
                  <a:gd name="T23" fmla="*/ 1307 h 1307"/>
                  <a:gd name="T24" fmla="*/ 899 w 1874"/>
                  <a:gd name="T25" fmla="*/ 1037 h 1307"/>
                  <a:gd name="T26" fmla="*/ 899 w 1874"/>
                  <a:gd name="T27" fmla="*/ 1035 h 1307"/>
                  <a:gd name="T28" fmla="*/ 975 w 1874"/>
                  <a:gd name="T29" fmla="*/ 1035 h 1307"/>
                  <a:gd name="T30" fmla="*/ 975 w 1874"/>
                  <a:gd name="T31" fmla="*/ 1037 h 1307"/>
                  <a:gd name="T32" fmla="*/ 975 w 1874"/>
                  <a:gd name="T33" fmla="*/ 1307 h 1307"/>
                  <a:gd name="T34" fmla="*/ 1019 w 1874"/>
                  <a:gd name="T35" fmla="*/ 1307 h 1307"/>
                  <a:gd name="T36" fmla="*/ 1019 w 1874"/>
                  <a:gd name="T37" fmla="*/ 1037 h 1307"/>
                  <a:gd name="T38" fmla="*/ 1019 w 1874"/>
                  <a:gd name="T39" fmla="*/ 1035 h 1307"/>
                  <a:gd name="T40" fmla="*/ 1851 w 1874"/>
                  <a:gd name="T41" fmla="*/ 1035 h 1307"/>
                  <a:gd name="T42" fmla="*/ 1868 w 1874"/>
                  <a:gd name="T43" fmla="*/ 1027 h 1307"/>
                  <a:gd name="T44" fmla="*/ 1873 w 1874"/>
                  <a:gd name="T45" fmla="*/ 1010 h 1307"/>
                  <a:gd name="T46" fmla="*/ 48 w 1874"/>
                  <a:gd name="T47" fmla="*/ 991 h 1307"/>
                  <a:gd name="T48" fmla="*/ 187 w 1874"/>
                  <a:gd name="T49" fmla="*/ 44 h 1307"/>
                  <a:gd name="T50" fmla="*/ 1687 w 1874"/>
                  <a:gd name="T51" fmla="*/ 44 h 1307"/>
                  <a:gd name="T52" fmla="*/ 1826 w 1874"/>
                  <a:gd name="T53" fmla="*/ 991 h 1307"/>
                  <a:gd name="T54" fmla="*/ 48 w 1874"/>
                  <a:gd name="T55" fmla="*/ 991 h 1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74" h="1307">
                    <a:moveTo>
                      <a:pt x="1873" y="1010"/>
                    </a:moveTo>
                    <a:cubicBezTo>
                      <a:pt x="1728" y="19"/>
                      <a:pt x="1728" y="19"/>
                      <a:pt x="1728" y="19"/>
                    </a:cubicBezTo>
                    <a:cubicBezTo>
                      <a:pt x="1727" y="8"/>
                      <a:pt x="1717" y="0"/>
                      <a:pt x="1706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57" y="0"/>
                      <a:pt x="147" y="8"/>
                      <a:pt x="146" y="19"/>
                    </a:cubicBezTo>
                    <a:cubicBezTo>
                      <a:pt x="1" y="1010"/>
                      <a:pt x="1" y="1010"/>
                      <a:pt x="1" y="1010"/>
                    </a:cubicBezTo>
                    <a:cubicBezTo>
                      <a:pt x="0" y="1016"/>
                      <a:pt x="2" y="1023"/>
                      <a:pt x="6" y="1027"/>
                    </a:cubicBezTo>
                    <a:cubicBezTo>
                      <a:pt x="11" y="1032"/>
                      <a:pt x="17" y="1035"/>
                      <a:pt x="23" y="1035"/>
                    </a:cubicBezTo>
                    <a:cubicBezTo>
                      <a:pt x="855" y="1035"/>
                      <a:pt x="855" y="1035"/>
                      <a:pt x="855" y="1035"/>
                    </a:cubicBezTo>
                    <a:cubicBezTo>
                      <a:pt x="855" y="1036"/>
                      <a:pt x="855" y="1036"/>
                      <a:pt x="855" y="1037"/>
                    </a:cubicBezTo>
                    <a:cubicBezTo>
                      <a:pt x="855" y="1307"/>
                      <a:pt x="855" y="1307"/>
                      <a:pt x="855" y="1307"/>
                    </a:cubicBezTo>
                    <a:cubicBezTo>
                      <a:pt x="899" y="1307"/>
                      <a:pt x="899" y="1307"/>
                      <a:pt x="899" y="1307"/>
                    </a:cubicBezTo>
                    <a:cubicBezTo>
                      <a:pt x="899" y="1037"/>
                      <a:pt x="899" y="1037"/>
                      <a:pt x="899" y="1037"/>
                    </a:cubicBezTo>
                    <a:cubicBezTo>
                      <a:pt x="899" y="1036"/>
                      <a:pt x="899" y="1036"/>
                      <a:pt x="899" y="1035"/>
                    </a:cubicBezTo>
                    <a:cubicBezTo>
                      <a:pt x="975" y="1035"/>
                      <a:pt x="975" y="1035"/>
                      <a:pt x="975" y="1035"/>
                    </a:cubicBezTo>
                    <a:cubicBezTo>
                      <a:pt x="975" y="1036"/>
                      <a:pt x="975" y="1036"/>
                      <a:pt x="975" y="1037"/>
                    </a:cubicBezTo>
                    <a:cubicBezTo>
                      <a:pt x="975" y="1307"/>
                      <a:pt x="975" y="1307"/>
                      <a:pt x="975" y="1307"/>
                    </a:cubicBezTo>
                    <a:cubicBezTo>
                      <a:pt x="1019" y="1307"/>
                      <a:pt x="1019" y="1307"/>
                      <a:pt x="1019" y="1307"/>
                    </a:cubicBezTo>
                    <a:cubicBezTo>
                      <a:pt x="1019" y="1037"/>
                      <a:pt x="1019" y="1037"/>
                      <a:pt x="1019" y="1037"/>
                    </a:cubicBezTo>
                    <a:cubicBezTo>
                      <a:pt x="1019" y="1036"/>
                      <a:pt x="1019" y="1036"/>
                      <a:pt x="1019" y="1035"/>
                    </a:cubicBezTo>
                    <a:cubicBezTo>
                      <a:pt x="1851" y="1035"/>
                      <a:pt x="1851" y="1035"/>
                      <a:pt x="1851" y="1035"/>
                    </a:cubicBezTo>
                    <a:cubicBezTo>
                      <a:pt x="1857" y="1035"/>
                      <a:pt x="1863" y="1032"/>
                      <a:pt x="1868" y="1027"/>
                    </a:cubicBezTo>
                    <a:cubicBezTo>
                      <a:pt x="1872" y="1023"/>
                      <a:pt x="1874" y="1016"/>
                      <a:pt x="1873" y="1010"/>
                    </a:cubicBezTo>
                    <a:close/>
                    <a:moveTo>
                      <a:pt x="48" y="991"/>
                    </a:moveTo>
                    <a:cubicBezTo>
                      <a:pt x="187" y="44"/>
                      <a:pt x="187" y="44"/>
                      <a:pt x="187" y="44"/>
                    </a:cubicBezTo>
                    <a:cubicBezTo>
                      <a:pt x="1687" y="44"/>
                      <a:pt x="1687" y="44"/>
                      <a:pt x="1687" y="44"/>
                    </a:cubicBezTo>
                    <a:cubicBezTo>
                      <a:pt x="1826" y="991"/>
                      <a:pt x="1826" y="991"/>
                      <a:pt x="1826" y="991"/>
                    </a:cubicBezTo>
                    <a:lnTo>
                      <a:pt x="48" y="99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cxnSp>
        <p:nvCxnSpPr>
          <p:cNvPr id="248" name="Straight Arrow Connector 247">
            <a:extLst>
              <a:ext uri="{FF2B5EF4-FFF2-40B4-BE49-F238E27FC236}">
                <a16:creationId xmlns:a16="http://schemas.microsoft.com/office/drawing/2014/main" id="{17C518D3-FA39-C747-C97D-7452EED35446}"/>
              </a:ext>
            </a:extLst>
          </p:cNvPr>
          <p:cNvCxnSpPr>
            <a:cxnSpLocks/>
          </p:cNvCxnSpPr>
          <p:nvPr/>
        </p:nvCxnSpPr>
        <p:spPr>
          <a:xfrm>
            <a:off x="4870831" y="5533290"/>
            <a:ext cx="497184" cy="1677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Arrow Connector 248">
            <a:extLst>
              <a:ext uri="{FF2B5EF4-FFF2-40B4-BE49-F238E27FC236}">
                <a16:creationId xmlns:a16="http://schemas.microsoft.com/office/drawing/2014/main" id="{F21687D0-E7EE-3A8F-3E32-A2822AD01D76}"/>
              </a:ext>
            </a:extLst>
          </p:cNvPr>
          <p:cNvCxnSpPr>
            <a:cxnSpLocks/>
          </p:cNvCxnSpPr>
          <p:nvPr/>
        </p:nvCxnSpPr>
        <p:spPr>
          <a:xfrm flipV="1">
            <a:off x="4870831" y="5815800"/>
            <a:ext cx="497184" cy="2273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5" name="bcgIcons_Power">
            <a:extLst>
              <a:ext uri="{FF2B5EF4-FFF2-40B4-BE49-F238E27FC236}">
                <a16:creationId xmlns:a16="http://schemas.microsoft.com/office/drawing/2014/main" id="{C1271795-6349-4B52-00DD-F69DDF6BEC9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8336" y="5547705"/>
            <a:ext cx="454734" cy="470667"/>
            <a:chOff x="1682" y="0"/>
            <a:chExt cx="4316" cy="4320"/>
          </a:xfrm>
        </p:grpSpPr>
        <p:sp>
          <p:nvSpPr>
            <p:cNvPr id="256" name="AutoShape 45">
              <a:extLst>
                <a:ext uri="{FF2B5EF4-FFF2-40B4-BE49-F238E27FC236}">
                  <a16:creationId xmlns:a16="http://schemas.microsoft.com/office/drawing/2014/main" id="{4A98AD49-3F5B-B981-CD3E-D868403288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47">
              <a:extLst>
                <a:ext uri="{FF2B5EF4-FFF2-40B4-BE49-F238E27FC236}">
                  <a16:creationId xmlns:a16="http://schemas.microsoft.com/office/drawing/2014/main" id="{91BA0E49-A388-1510-B4B8-D7F76EB461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6" y="424"/>
              <a:ext cx="1875" cy="3489"/>
            </a:xfrm>
            <a:custGeom>
              <a:avLst/>
              <a:gdLst>
                <a:gd name="T0" fmla="*/ 672 w 1001"/>
                <a:gd name="T1" fmla="*/ 44 h 1861"/>
                <a:gd name="T2" fmla="*/ 552 w 1001"/>
                <a:gd name="T3" fmla="*/ 778 h 1861"/>
                <a:gd name="T4" fmla="*/ 957 w 1001"/>
                <a:gd name="T5" fmla="*/ 666 h 1861"/>
                <a:gd name="T6" fmla="*/ 332 w 1001"/>
                <a:gd name="T7" fmla="*/ 1817 h 1861"/>
                <a:gd name="T8" fmla="*/ 452 w 1001"/>
                <a:gd name="T9" fmla="*/ 1085 h 1861"/>
                <a:gd name="T10" fmla="*/ 47 w 1001"/>
                <a:gd name="T11" fmla="*/ 1195 h 1861"/>
                <a:gd name="T12" fmla="*/ 672 w 1001"/>
                <a:gd name="T13" fmla="*/ 44 h 1861"/>
                <a:gd name="T14" fmla="*/ 957 w 1001"/>
                <a:gd name="T15" fmla="*/ 666 h 1861"/>
                <a:gd name="T16" fmla="*/ 957 w 1001"/>
                <a:gd name="T17" fmla="*/ 666 h 1861"/>
                <a:gd name="T18" fmla="*/ 672 w 1001"/>
                <a:gd name="T19" fmla="*/ 0 h 1861"/>
                <a:gd name="T20" fmla="*/ 634 w 1001"/>
                <a:gd name="T21" fmla="*/ 23 h 1861"/>
                <a:gd name="T22" fmla="*/ 9 w 1001"/>
                <a:gd name="T23" fmla="*/ 1174 h 1861"/>
                <a:gd name="T24" fmla="*/ 13 w 1001"/>
                <a:gd name="T25" fmla="*/ 1222 h 1861"/>
                <a:gd name="T26" fmla="*/ 47 w 1001"/>
                <a:gd name="T27" fmla="*/ 1239 h 1861"/>
                <a:gd name="T28" fmla="*/ 59 w 1001"/>
                <a:gd name="T29" fmla="*/ 1237 h 1861"/>
                <a:gd name="T30" fmla="*/ 397 w 1001"/>
                <a:gd name="T31" fmla="*/ 1145 h 1861"/>
                <a:gd name="T32" fmla="*/ 288 w 1001"/>
                <a:gd name="T33" fmla="*/ 1810 h 1861"/>
                <a:gd name="T34" fmla="*/ 318 w 1001"/>
                <a:gd name="T35" fmla="*/ 1858 h 1861"/>
                <a:gd name="T36" fmla="*/ 332 w 1001"/>
                <a:gd name="T37" fmla="*/ 1861 h 1861"/>
                <a:gd name="T38" fmla="*/ 371 w 1001"/>
                <a:gd name="T39" fmla="*/ 1838 h 1861"/>
                <a:gd name="T40" fmla="*/ 995 w 1001"/>
                <a:gd name="T41" fmla="*/ 688 h 1861"/>
                <a:gd name="T42" fmla="*/ 1001 w 1001"/>
                <a:gd name="T43" fmla="*/ 666 h 1861"/>
                <a:gd name="T44" fmla="*/ 959 w 1001"/>
                <a:gd name="T45" fmla="*/ 622 h 1861"/>
                <a:gd name="T46" fmla="*/ 957 w 1001"/>
                <a:gd name="T47" fmla="*/ 622 h 1861"/>
                <a:gd name="T48" fmla="*/ 954 w 1001"/>
                <a:gd name="T49" fmla="*/ 622 h 1861"/>
                <a:gd name="T50" fmla="*/ 944 w 1001"/>
                <a:gd name="T51" fmla="*/ 624 h 1861"/>
                <a:gd name="T52" fmla="*/ 607 w 1001"/>
                <a:gd name="T53" fmla="*/ 717 h 1861"/>
                <a:gd name="T54" fmla="*/ 716 w 1001"/>
                <a:gd name="T55" fmla="*/ 51 h 1861"/>
                <a:gd name="T56" fmla="*/ 687 w 1001"/>
                <a:gd name="T57" fmla="*/ 2 h 1861"/>
                <a:gd name="T58" fmla="*/ 672 w 1001"/>
                <a:gd name="T59" fmla="*/ 0 h 1861"/>
                <a:gd name="T60" fmla="*/ 672 w 1001"/>
                <a:gd name="T61" fmla="*/ 88 h 1861"/>
                <a:gd name="T62" fmla="*/ 672 w 1001"/>
                <a:gd name="T63" fmla="*/ 88 h 1861"/>
                <a:gd name="T64" fmla="*/ 672 w 1001"/>
                <a:gd name="T65" fmla="*/ 88 h 1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1" h="1861">
                  <a:moveTo>
                    <a:pt x="672" y="44"/>
                  </a:moveTo>
                  <a:cubicBezTo>
                    <a:pt x="552" y="778"/>
                    <a:pt x="552" y="778"/>
                    <a:pt x="552" y="778"/>
                  </a:cubicBezTo>
                  <a:cubicBezTo>
                    <a:pt x="957" y="666"/>
                    <a:pt x="957" y="666"/>
                    <a:pt x="957" y="666"/>
                  </a:cubicBezTo>
                  <a:cubicBezTo>
                    <a:pt x="332" y="1817"/>
                    <a:pt x="332" y="1817"/>
                    <a:pt x="332" y="1817"/>
                  </a:cubicBezTo>
                  <a:cubicBezTo>
                    <a:pt x="452" y="1085"/>
                    <a:pt x="452" y="1085"/>
                    <a:pt x="452" y="1085"/>
                  </a:cubicBezTo>
                  <a:cubicBezTo>
                    <a:pt x="47" y="1195"/>
                    <a:pt x="47" y="1195"/>
                    <a:pt x="47" y="1195"/>
                  </a:cubicBezTo>
                  <a:cubicBezTo>
                    <a:pt x="672" y="44"/>
                    <a:pt x="672" y="44"/>
                    <a:pt x="672" y="44"/>
                  </a:cubicBezTo>
                  <a:moveTo>
                    <a:pt x="957" y="666"/>
                  </a:moveTo>
                  <a:cubicBezTo>
                    <a:pt x="957" y="666"/>
                    <a:pt x="957" y="666"/>
                    <a:pt x="957" y="666"/>
                  </a:cubicBezTo>
                  <a:moveTo>
                    <a:pt x="672" y="0"/>
                  </a:moveTo>
                  <a:cubicBezTo>
                    <a:pt x="657" y="0"/>
                    <a:pt x="642" y="9"/>
                    <a:pt x="634" y="23"/>
                  </a:cubicBezTo>
                  <a:cubicBezTo>
                    <a:pt x="9" y="1174"/>
                    <a:pt x="9" y="1174"/>
                    <a:pt x="9" y="1174"/>
                  </a:cubicBezTo>
                  <a:cubicBezTo>
                    <a:pt x="0" y="1189"/>
                    <a:pt x="2" y="1208"/>
                    <a:pt x="13" y="1222"/>
                  </a:cubicBezTo>
                  <a:cubicBezTo>
                    <a:pt x="21" y="1233"/>
                    <a:pt x="34" y="1239"/>
                    <a:pt x="47" y="1239"/>
                  </a:cubicBezTo>
                  <a:cubicBezTo>
                    <a:pt x="51" y="1239"/>
                    <a:pt x="55" y="1238"/>
                    <a:pt x="59" y="1237"/>
                  </a:cubicBezTo>
                  <a:cubicBezTo>
                    <a:pt x="397" y="1145"/>
                    <a:pt x="397" y="1145"/>
                    <a:pt x="397" y="1145"/>
                  </a:cubicBezTo>
                  <a:cubicBezTo>
                    <a:pt x="288" y="1810"/>
                    <a:pt x="288" y="1810"/>
                    <a:pt x="288" y="1810"/>
                  </a:cubicBezTo>
                  <a:cubicBezTo>
                    <a:pt x="285" y="1831"/>
                    <a:pt x="297" y="1851"/>
                    <a:pt x="318" y="1858"/>
                  </a:cubicBezTo>
                  <a:cubicBezTo>
                    <a:pt x="322" y="1860"/>
                    <a:pt x="327" y="1861"/>
                    <a:pt x="332" y="1861"/>
                  </a:cubicBezTo>
                  <a:cubicBezTo>
                    <a:pt x="348" y="1861"/>
                    <a:pt x="363" y="1852"/>
                    <a:pt x="371" y="1838"/>
                  </a:cubicBezTo>
                  <a:cubicBezTo>
                    <a:pt x="995" y="688"/>
                    <a:pt x="995" y="688"/>
                    <a:pt x="995" y="688"/>
                  </a:cubicBezTo>
                  <a:cubicBezTo>
                    <a:pt x="999" y="681"/>
                    <a:pt x="1001" y="674"/>
                    <a:pt x="1001" y="666"/>
                  </a:cubicBezTo>
                  <a:cubicBezTo>
                    <a:pt x="1001" y="642"/>
                    <a:pt x="982" y="623"/>
                    <a:pt x="959" y="622"/>
                  </a:cubicBezTo>
                  <a:cubicBezTo>
                    <a:pt x="958" y="622"/>
                    <a:pt x="958" y="622"/>
                    <a:pt x="957" y="622"/>
                  </a:cubicBezTo>
                  <a:cubicBezTo>
                    <a:pt x="956" y="622"/>
                    <a:pt x="955" y="622"/>
                    <a:pt x="954" y="622"/>
                  </a:cubicBezTo>
                  <a:cubicBezTo>
                    <a:pt x="950" y="622"/>
                    <a:pt x="947" y="623"/>
                    <a:pt x="944" y="624"/>
                  </a:cubicBezTo>
                  <a:cubicBezTo>
                    <a:pt x="607" y="717"/>
                    <a:pt x="607" y="717"/>
                    <a:pt x="607" y="717"/>
                  </a:cubicBezTo>
                  <a:cubicBezTo>
                    <a:pt x="716" y="51"/>
                    <a:pt x="716" y="51"/>
                    <a:pt x="716" y="51"/>
                  </a:cubicBezTo>
                  <a:cubicBezTo>
                    <a:pt x="719" y="30"/>
                    <a:pt x="707" y="9"/>
                    <a:pt x="687" y="2"/>
                  </a:cubicBezTo>
                  <a:cubicBezTo>
                    <a:pt x="682" y="1"/>
                    <a:pt x="677" y="0"/>
                    <a:pt x="672" y="0"/>
                  </a:cubicBezTo>
                  <a:close/>
                  <a:moveTo>
                    <a:pt x="672" y="88"/>
                  </a:moveTo>
                  <a:cubicBezTo>
                    <a:pt x="672" y="88"/>
                    <a:pt x="672" y="88"/>
                    <a:pt x="672" y="88"/>
                  </a:cubicBezTo>
                  <a:cubicBezTo>
                    <a:pt x="672" y="88"/>
                    <a:pt x="672" y="88"/>
                    <a:pt x="672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58" name="Freeform 48">
              <a:extLst>
                <a:ext uri="{FF2B5EF4-FFF2-40B4-BE49-F238E27FC236}">
                  <a16:creationId xmlns:a16="http://schemas.microsoft.com/office/drawing/2014/main" id="{2CD5986C-AFD2-FB29-71E0-8A2CE7B52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" y="953"/>
              <a:ext cx="1390" cy="2431"/>
            </a:xfrm>
            <a:custGeom>
              <a:avLst/>
              <a:gdLst>
                <a:gd name="T0" fmla="*/ 529 w 1390"/>
                <a:gd name="T1" fmla="*/ 2431 h 2431"/>
                <a:gd name="T2" fmla="*/ 709 w 1390"/>
                <a:gd name="T3" fmla="*/ 1395 h 2431"/>
                <a:gd name="T4" fmla="*/ 0 w 1390"/>
                <a:gd name="T5" fmla="*/ 1586 h 2431"/>
                <a:gd name="T6" fmla="*/ 862 w 1390"/>
                <a:gd name="T7" fmla="*/ 0 h 2431"/>
                <a:gd name="T8" fmla="*/ 682 w 1390"/>
                <a:gd name="T9" fmla="*/ 1033 h 2431"/>
                <a:gd name="T10" fmla="*/ 1390 w 1390"/>
                <a:gd name="T11" fmla="*/ 843 h 2431"/>
                <a:gd name="T12" fmla="*/ 529 w 1390"/>
                <a:gd name="T13" fmla="*/ 2431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0" h="2431">
                  <a:moveTo>
                    <a:pt x="529" y="2431"/>
                  </a:moveTo>
                  <a:lnTo>
                    <a:pt x="709" y="1395"/>
                  </a:lnTo>
                  <a:lnTo>
                    <a:pt x="0" y="1586"/>
                  </a:lnTo>
                  <a:lnTo>
                    <a:pt x="862" y="0"/>
                  </a:lnTo>
                  <a:lnTo>
                    <a:pt x="682" y="1033"/>
                  </a:lnTo>
                  <a:lnTo>
                    <a:pt x="1390" y="843"/>
                  </a:lnTo>
                  <a:lnTo>
                    <a:pt x="529" y="243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</p:grpSp>
      <p:grpSp>
        <p:nvGrpSpPr>
          <p:cNvPr id="259" name="bcgIcons_Mining">
            <a:extLst>
              <a:ext uri="{FF2B5EF4-FFF2-40B4-BE49-F238E27FC236}">
                <a16:creationId xmlns:a16="http://schemas.microsoft.com/office/drawing/2014/main" id="{70A72FAB-EB8F-64CA-A00A-BE716D9435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93501" y="5531244"/>
            <a:ext cx="375622" cy="470667"/>
            <a:chOff x="1682" y="0"/>
            <a:chExt cx="4316" cy="4320"/>
          </a:xfrm>
        </p:grpSpPr>
        <p:sp>
          <p:nvSpPr>
            <p:cNvPr id="260" name="AutoShape 38">
              <a:extLst>
                <a:ext uri="{FF2B5EF4-FFF2-40B4-BE49-F238E27FC236}">
                  <a16:creationId xmlns:a16="http://schemas.microsoft.com/office/drawing/2014/main" id="{4B64BDB1-4E5D-60DB-C632-8CA449ACDF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40">
              <a:extLst>
                <a:ext uri="{FF2B5EF4-FFF2-40B4-BE49-F238E27FC236}">
                  <a16:creationId xmlns:a16="http://schemas.microsoft.com/office/drawing/2014/main" id="{7B889805-80E4-7006-519B-6217F6CF5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41">
              <a:extLst>
                <a:ext uri="{FF2B5EF4-FFF2-40B4-BE49-F238E27FC236}">
                  <a16:creationId xmlns:a16="http://schemas.microsoft.com/office/drawing/2014/main" id="{2B92E6BD-7DA8-EEE1-2FA5-5EA45C1A2B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264" name="Straight Arrow Connector 263">
            <a:extLst>
              <a:ext uri="{FF2B5EF4-FFF2-40B4-BE49-F238E27FC236}">
                <a16:creationId xmlns:a16="http://schemas.microsoft.com/office/drawing/2014/main" id="{13CA054B-4088-2E3F-5443-FED9DB66D08C}"/>
              </a:ext>
            </a:extLst>
          </p:cNvPr>
          <p:cNvCxnSpPr>
            <a:cxnSpLocks/>
          </p:cNvCxnSpPr>
          <p:nvPr/>
        </p:nvCxnSpPr>
        <p:spPr>
          <a:xfrm>
            <a:off x="8048613" y="5783038"/>
            <a:ext cx="212888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Connector: Elbow 264">
            <a:extLst>
              <a:ext uri="{FF2B5EF4-FFF2-40B4-BE49-F238E27FC236}">
                <a16:creationId xmlns:a16="http://schemas.microsoft.com/office/drawing/2014/main" id="{3A1FBECB-6EE2-D911-6230-EE018C1820BF}"/>
              </a:ext>
            </a:extLst>
          </p:cNvPr>
          <p:cNvCxnSpPr>
            <a:cxnSpLocks/>
            <a:stCxn id="266" idx="2"/>
            <a:endCxn id="267" idx="2"/>
          </p:cNvCxnSpPr>
          <p:nvPr/>
        </p:nvCxnSpPr>
        <p:spPr>
          <a:xfrm rot="5400000">
            <a:off x="6017486" y="4506315"/>
            <a:ext cx="214912" cy="3173832"/>
          </a:xfrm>
          <a:prstGeom prst="bentConnector3">
            <a:avLst>
              <a:gd name="adj1" fmla="val 20636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E90211BB-535D-FF1C-DCC1-FD8571C73EA2}"/>
              </a:ext>
            </a:extLst>
          </p:cNvPr>
          <p:cNvGrpSpPr/>
          <p:nvPr/>
        </p:nvGrpSpPr>
        <p:grpSpPr>
          <a:xfrm>
            <a:off x="7484491" y="5547705"/>
            <a:ext cx="463752" cy="470667"/>
            <a:chOff x="9313859" y="5547705"/>
            <a:chExt cx="463752" cy="470667"/>
          </a:xfrm>
        </p:grpSpPr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640F4D72-F1AF-B90B-1D50-0C54872DA36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322878" y="5547705"/>
              <a:ext cx="454733" cy="470667"/>
              <a:chOff x="5273801" y="2606040"/>
              <a:chExt cx="1644396" cy="1645920"/>
            </a:xfrm>
          </p:grpSpPr>
          <p:sp>
            <p:nvSpPr>
              <p:cNvPr id="251" name="AutoShape 13">
                <a:extLst>
                  <a:ext uri="{FF2B5EF4-FFF2-40B4-BE49-F238E27FC236}">
                    <a16:creationId xmlns:a16="http://schemas.microsoft.com/office/drawing/2014/main" id="{96EC32F9-1373-3286-D796-1E806B6150B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252" name="Group 251">
                <a:extLst>
                  <a:ext uri="{FF2B5EF4-FFF2-40B4-BE49-F238E27FC236}">
                    <a16:creationId xmlns:a16="http://schemas.microsoft.com/office/drawing/2014/main" id="{8941516E-D3A8-F241-42D1-A1CDF8FCA9C6}"/>
                  </a:ext>
                </a:extLst>
              </p:cNvPr>
              <p:cNvGrpSpPr/>
              <p:nvPr/>
            </p:nvGrpSpPr>
            <p:grpSpPr>
              <a:xfrm>
                <a:off x="5428106" y="3007614"/>
                <a:ext cx="1337310" cy="1122807"/>
                <a:chOff x="5428106" y="3007614"/>
                <a:chExt cx="1337310" cy="1122807"/>
              </a:xfrm>
            </p:grpSpPr>
            <p:sp>
              <p:nvSpPr>
                <p:cNvPr id="253" name="Freeform 15">
                  <a:extLst>
                    <a:ext uri="{FF2B5EF4-FFF2-40B4-BE49-F238E27FC236}">
                      <a16:creationId xmlns:a16="http://schemas.microsoft.com/office/drawing/2014/main" id="{1D09C559-0071-34AC-326E-BA5E609DE0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37072" y="3098292"/>
                  <a:ext cx="1124331" cy="1032129"/>
                </a:xfrm>
                <a:custGeom>
                  <a:avLst/>
                  <a:gdLst>
                    <a:gd name="T0" fmla="*/ 1216 w 1575"/>
                    <a:gd name="T1" fmla="*/ 1445 h 1445"/>
                    <a:gd name="T2" fmla="*/ 328 w 1575"/>
                    <a:gd name="T3" fmla="*/ 1315 h 1445"/>
                    <a:gd name="T4" fmla="*/ 405 w 1575"/>
                    <a:gd name="T5" fmla="*/ 1250 h 1445"/>
                    <a:gd name="T6" fmla="*/ 1161 w 1575"/>
                    <a:gd name="T7" fmla="*/ 1250 h 1445"/>
                    <a:gd name="T8" fmla="*/ 1239 w 1575"/>
                    <a:gd name="T9" fmla="*/ 1315 h 1445"/>
                    <a:gd name="T10" fmla="*/ 266 w 1575"/>
                    <a:gd name="T11" fmla="*/ 0 h 1445"/>
                    <a:gd name="T12" fmla="*/ 72 w 1575"/>
                    <a:gd name="T13" fmla="*/ 172 h 1445"/>
                    <a:gd name="T14" fmla="*/ 260 w 1575"/>
                    <a:gd name="T15" fmla="*/ 174 h 1445"/>
                    <a:gd name="T16" fmla="*/ 242 w 1575"/>
                    <a:gd name="T17" fmla="*/ 249 h 1445"/>
                    <a:gd name="T18" fmla="*/ 38 w 1575"/>
                    <a:gd name="T19" fmla="*/ 439 h 1445"/>
                    <a:gd name="T20" fmla="*/ 235 w 1575"/>
                    <a:gd name="T21" fmla="*/ 441 h 1445"/>
                    <a:gd name="T22" fmla="*/ 217 w 1575"/>
                    <a:gd name="T23" fmla="*/ 523 h 1445"/>
                    <a:gd name="T24" fmla="*/ 0 w 1575"/>
                    <a:gd name="T25" fmla="*/ 733 h 1445"/>
                    <a:gd name="T26" fmla="*/ 208 w 1575"/>
                    <a:gd name="T27" fmla="*/ 735 h 1445"/>
                    <a:gd name="T28" fmla="*/ 507 w 1575"/>
                    <a:gd name="T29" fmla="*/ 0 h 1445"/>
                    <a:gd name="T30" fmla="*/ 320 w 1575"/>
                    <a:gd name="T31" fmla="*/ 173 h 1445"/>
                    <a:gd name="T32" fmla="*/ 509 w 1575"/>
                    <a:gd name="T33" fmla="*/ 174 h 1445"/>
                    <a:gd name="T34" fmla="*/ 494 w 1575"/>
                    <a:gd name="T35" fmla="*/ 249 h 1445"/>
                    <a:gd name="T36" fmla="*/ 298 w 1575"/>
                    <a:gd name="T37" fmla="*/ 440 h 1445"/>
                    <a:gd name="T38" fmla="*/ 495 w 1575"/>
                    <a:gd name="T39" fmla="*/ 441 h 1445"/>
                    <a:gd name="T40" fmla="*/ 481 w 1575"/>
                    <a:gd name="T41" fmla="*/ 523 h 1445"/>
                    <a:gd name="T42" fmla="*/ 273 w 1575"/>
                    <a:gd name="T43" fmla="*/ 734 h 1445"/>
                    <a:gd name="T44" fmla="*/ 481 w 1575"/>
                    <a:gd name="T45" fmla="*/ 735 h 1445"/>
                    <a:gd name="T46" fmla="*/ 748 w 1575"/>
                    <a:gd name="T47" fmla="*/ 0 h 1445"/>
                    <a:gd name="T48" fmla="*/ 569 w 1575"/>
                    <a:gd name="T49" fmla="*/ 173 h 1445"/>
                    <a:gd name="T50" fmla="*/ 757 w 1575"/>
                    <a:gd name="T51" fmla="*/ 173 h 1445"/>
                    <a:gd name="T52" fmla="*/ 747 w 1575"/>
                    <a:gd name="T53" fmla="*/ 249 h 1445"/>
                    <a:gd name="T54" fmla="*/ 558 w 1575"/>
                    <a:gd name="T55" fmla="*/ 440 h 1445"/>
                    <a:gd name="T56" fmla="*/ 756 w 1575"/>
                    <a:gd name="T57" fmla="*/ 440 h 1445"/>
                    <a:gd name="T58" fmla="*/ 745 w 1575"/>
                    <a:gd name="T59" fmla="*/ 523 h 1445"/>
                    <a:gd name="T60" fmla="*/ 547 w 1575"/>
                    <a:gd name="T61" fmla="*/ 734 h 1445"/>
                    <a:gd name="T62" fmla="*/ 754 w 1575"/>
                    <a:gd name="T63" fmla="*/ 734 h 1445"/>
                    <a:gd name="T64" fmla="*/ 989 w 1575"/>
                    <a:gd name="T65" fmla="*/ 0 h 1445"/>
                    <a:gd name="T66" fmla="*/ 817 w 1575"/>
                    <a:gd name="T67" fmla="*/ 173 h 1445"/>
                    <a:gd name="T68" fmla="*/ 1005 w 1575"/>
                    <a:gd name="T69" fmla="*/ 173 h 1445"/>
                    <a:gd name="T70" fmla="*/ 999 w 1575"/>
                    <a:gd name="T71" fmla="*/ 249 h 1445"/>
                    <a:gd name="T72" fmla="*/ 818 w 1575"/>
                    <a:gd name="T73" fmla="*/ 440 h 1445"/>
                    <a:gd name="T74" fmla="*/ 1016 w 1575"/>
                    <a:gd name="T75" fmla="*/ 440 h 1445"/>
                    <a:gd name="T76" fmla="*/ 1009 w 1575"/>
                    <a:gd name="T77" fmla="*/ 523 h 1445"/>
                    <a:gd name="T78" fmla="*/ 820 w 1575"/>
                    <a:gd name="T79" fmla="*/ 734 h 1445"/>
                    <a:gd name="T80" fmla="*/ 1027 w 1575"/>
                    <a:gd name="T81" fmla="*/ 734 h 1445"/>
                    <a:gd name="T82" fmla="*/ 1229 w 1575"/>
                    <a:gd name="T83" fmla="*/ 0 h 1445"/>
                    <a:gd name="T84" fmla="*/ 1065 w 1575"/>
                    <a:gd name="T85" fmla="*/ 174 h 1445"/>
                    <a:gd name="T86" fmla="*/ 1253 w 1575"/>
                    <a:gd name="T87" fmla="*/ 173 h 1445"/>
                    <a:gd name="T88" fmla="*/ 1251 w 1575"/>
                    <a:gd name="T89" fmla="*/ 249 h 1445"/>
                    <a:gd name="T90" fmla="*/ 1078 w 1575"/>
                    <a:gd name="T91" fmla="*/ 441 h 1445"/>
                    <a:gd name="T92" fmla="*/ 1276 w 1575"/>
                    <a:gd name="T93" fmla="*/ 440 h 1445"/>
                    <a:gd name="T94" fmla="*/ 1274 w 1575"/>
                    <a:gd name="T95" fmla="*/ 523 h 1445"/>
                    <a:gd name="T96" fmla="*/ 1093 w 1575"/>
                    <a:gd name="T97" fmla="*/ 735 h 1445"/>
                    <a:gd name="T98" fmla="*/ 1301 w 1575"/>
                    <a:gd name="T99" fmla="*/ 734 h 1445"/>
                    <a:gd name="T100" fmla="*/ 1470 w 1575"/>
                    <a:gd name="T101" fmla="*/ 0 h 1445"/>
                    <a:gd name="T102" fmla="*/ 1313 w 1575"/>
                    <a:gd name="T103" fmla="*/ 174 h 1445"/>
                    <a:gd name="T104" fmla="*/ 1501 w 1575"/>
                    <a:gd name="T105" fmla="*/ 172 h 1445"/>
                    <a:gd name="T106" fmla="*/ 1503 w 1575"/>
                    <a:gd name="T107" fmla="*/ 249 h 1445"/>
                    <a:gd name="T108" fmla="*/ 1339 w 1575"/>
                    <a:gd name="T109" fmla="*/ 441 h 1445"/>
                    <a:gd name="T110" fmla="*/ 1536 w 1575"/>
                    <a:gd name="T111" fmla="*/ 439 h 1445"/>
                    <a:gd name="T112" fmla="*/ 1538 w 1575"/>
                    <a:gd name="T113" fmla="*/ 523 h 1445"/>
                    <a:gd name="T114" fmla="*/ 1367 w 1575"/>
                    <a:gd name="T115" fmla="*/ 735 h 1445"/>
                    <a:gd name="T116" fmla="*/ 1574 w 1575"/>
                    <a:gd name="T117" fmla="*/ 733 h 14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575" h="1445">
                      <a:moveTo>
                        <a:pt x="1239" y="1315"/>
                      </a:moveTo>
                      <a:cubicBezTo>
                        <a:pt x="1239" y="1422"/>
                        <a:pt x="1239" y="1422"/>
                        <a:pt x="1239" y="1422"/>
                      </a:cubicBezTo>
                      <a:cubicBezTo>
                        <a:pt x="1239" y="1434"/>
                        <a:pt x="1228" y="1445"/>
                        <a:pt x="1216" y="1445"/>
                      </a:cubicBezTo>
                      <a:cubicBezTo>
                        <a:pt x="351" y="1445"/>
                        <a:pt x="351" y="1445"/>
                        <a:pt x="351" y="1445"/>
                      </a:cubicBezTo>
                      <a:cubicBezTo>
                        <a:pt x="338" y="1445"/>
                        <a:pt x="328" y="1434"/>
                        <a:pt x="328" y="1422"/>
                      </a:cubicBezTo>
                      <a:cubicBezTo>
                        <a:pt x="328" y="1315"/>
                        <a:pt x="328" y="1315"/>
                        <a:pt x="328" y="1315"/>
                      </a:cubicBezTo>
                      <a:cubicBezTo>
                        <a:pt x="328" y="1303"/>
                        <a:pt x="338" y="1292"/>
                        <a:pt x="351" y="1292"/>
                      </a:cubicBezTo>
                      <a:cubicBezTo>
                        <a:pt x="405" y="1292"/>
                        <a:pt x="405" y="1292"/>
                        <a:pt x="405" y="1292"/>
                      </a:cubicBezTo>
                      <a:cubicBezTo>
                        <a:pt x="405" y="1250"/>
                        <a:pt x="405" y="1250"/>
                        <a:pt x="405" y="1250"/>
                      </a:cubicBezTo>
                      <a:cubicBezTo>
                        <a:pt x="405" y="1237"/>
                        <a:pt x="415" y="1227"/>
                        <a:pt x="428" y="1227"/>
                      </a:cubicBezTo>
                      <a:cubicBezTo>
                        <a:pt x="1138" y="1227"/>
                        <a:pt x="1138" y="1227"/>
                        <a:pt x="1138" y="1227"/>
                      </a:cubicBezTo>
                      <a:cubicBezTo>
                        <a:pt x="1151" y="1227"/>
                        <a:pt x="1161" y="1237"/>
                        <a:pt x="1161" y="1250"/>
                      </a:cubicBezTo>
                      <a:cubicBezTo>
                        <a:pt x="1161" y="1292"/>
                        <a:pt x="1161" y="1292"/>
                        <a:pt x="1161" y="1292"/>
                      </a:cubicBezTo>
                      <a:cubicBezTo>
                        <a:pt x="1216" y="1292"/>
                        <a:pt x="1216" y="1292"/>
                        <a:pt x="1216" y="1292"/>
                      </a:cubicBezTo>
                      <a:cubicBezTo>
                        <a:pt x="1228" y="1292"/>
                        <a:pt x="1239" y="1303"/>
                        <a:pt x="1239" y="1315"/>
                      </a:cubicBezTo>
                      <a:close/>
                      <a:moveTo>
                        <a:pt x="260" y="174"/>
                      </a:moveTo>
                      <a:cubicBezTo>
                        <a:pt x="276" y="11"/>
                        <a:pt x="276" y="11"/>
                        <a:pt x="276" y="11"/>
                      </a:cubicBezTo>
                      <a:cubicBezTo>
                        <a:pt x="276" y="5"/>
                        <a:pt x="272" y="0"/>
                        <a:pt x="266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98" y="0"/>
                        <a:pt x="94" y="4"/>
                        <a:pt x="93" y="9"/>
                      </a:cubicBezTo>
                      <a:cubicBezTo>
                        <a:pt x="72" y="172"/>
                        <a:pt x="72" y="172"/>
                        <a:pt x="72" y="172"/>
                      </a:cubicBezTo>
                      <a:cubicBezTo>
                        <a:pt x="72" y="178"/>
                        <a:pt x="76" y="183"/>
                        <a:pt x="82" y="183"/>
                      </a:cubicBezTo>
                      <a:cubicBezTo>
                        <a:pt x="251" y="183"/>
                        <a:pt x="251" y="183"/>
                        <a:pt x="251" y="183"/>
                      </a:cubicBezTo>
                      <a:cubicBezTo>
                        <a:pt x="256" y="183"/>
                        <a:pt x="260" y="179"/>
                        <a:pt x="260" y="174"/>
                      </a:cubicBezTo>
                      <a:close/>
                      <a:moveTo>
                        <a:pt x="235" y="441"/>
                      </a:moveTo>
                      <a:cubicBezTo>
                        <a:pt x="252" y="260"/>
                        <a:pt x="252" y="260"/>
                        <a:pt x="252" y="260"/>
                      </a:cubicBezTo>
                      <a:cubicBezTo>
                        <a:pt x="253" y="254"/>
                        <a:pt x="248" y="249"/>
                        <a:pt x="242" y="249"/>
                      </a:cubicBezTo>
                      <a:cubicBezTo>
                        <a:pt x="71" y="249"/>
                        <a:pt x="71" y="249"/>
                        <a:pt x="71" y="249"/>
                      </a:cubicBezTo>
                      <a:cubicBezTo>
                        <a:pt x="66" y="249"/>
                        <a:pt x="62" y="253"/>
                        <a:pt x="61" y="258"/>
                      </a:cubicBezTo>
                      <a:cubicBezTo>
                        <a:pt x="38" y="439"/>
                        <a:pt x="38" y="439"/>
                        <a:pt x="38" y="439"/>
                      </a:cubicBezTo>
                      <a:cubicBezTo>
                        <a:pt x="37" y="445"/>
                        <a:pt x="42" y="450"/>
                        <a:pt x="48" y="450"/>
                      </a:cubicBezTo>
                      <a:cubicBezTo>
                        <a:pt x="225" y="450"/>
                        <a:pt x="225" y="450"/>
                        <a:pt x="225" y="450"/>
                      </a:cubicBezTo>
                      <a:cubicBezTo>
                        <a:pt x="230" y="450"/>
                        <a:pt x="235" y="446"/>
                        <a:pt x="235" y="441"/>
                      </a:cubicBezTo>
                      <a:close/>
                      <a:moveTo>
                        <a:pt x="208" y="735"/>
                      </a:moveTo>
                      <a:cubicBezTo>
                        <a:pt x="227" y="534"/>
                        <a:pt x="227" y="534"/>
                        <a:pt x="227" y="534"/>
                      </a:cubicBezTo>
                      <a:cubicBezTo>
                        <a:pt x="227" y="528"/>
                        <a:pt x="223" y="523"/>
                        <a:pt x="217" y="523"/>
                      </a:cubicBezTo>
                      <a:cubicBezTo>
                        <a:pt x="36" y="523"/>
                        <a:pt x="36" y="523"/>
                        <a:pt x="36" y="523"/>
                      </a:cubicBezTo>
                      <a:cubicBezTo>
                        <a:pt x="31" y="523"/>
                        <a:pt x="27" y="527"/>
                        <a:pt x="26" y="532"/>
                      </a:cubicBezTo>
                      <a:cubicBezTo>
                        <a:pt x="0" y="733"/>
                        <a:pt x="0" y="733"/>
                        <a:pt x="0" y="733"/>
                      </a:cubicBezTo>
                      <a:cubicBezTo>
                        <a:pt x="0" y="739"/>
                        <a:pt x="4" y="744"/>
                        <a:pt x="10" y="744"/>
                      </a:cubicBezTo>
                      <a:cubicBezTo>
                        <a:pt x="198" y="744"/>
                        <a:pt x="198" y="744"/>
                        <a:pt x="198" y="744"/>
                      </a:cubicBezTo>
                      <a:cubicBezTo>
                        <a:pt x="203" y="744"/>
                        <a:pt x="207" y="741"/>
                        <a:pt x="208" y="735"/>
                      </a:cubicBezTo>
                      <a:close/>
                      <a:moveTo>
                        <a:pt x="509" y="174"/>
                      </a:moveTo>
                      <a:cubicBezTo>
                        <a:pt x="517" y="10"/>
                        <a:pt x="517" y="10"/>
                        <a:pt x="517" y="10"/>
                      </a:cubicBezTo>
                      <a:cubicBezTo>
                        <a:pt x="517" y="5"/>
                        <a:pt x="513" y="0"/>
                        <a:pt x="507" y="0"/>
                      </a:cubicBezTo>
                      <a:cubicBezTo>
                        <a:pt x="344" y="0"/>
                        <a:pt x="344" y="0"/>
                        <a:pt x="344" y="0"/>
                      </a:cubicBezTo>
                      <a:cubicBezTo>
                        <a:pt x="339" y="0"/>
                        <a:pt x="334" y="4"/>
                        <a:pt x="334" y="9"/>
                      </a:cubicBezTo>
                      <a:cubicBezTo>
                        <a:pt x="320" y="173"/>
                        <a:pt x="320" y="173"/>
                        <a:pt x="320" y="173"/>
                      </a:cubicBezTo>
                      <a:cubicBezTo>
                        <a:pt x="320" y="178"/>
                        <a:pt x="325" y="183"/>
                        <a:pt x="330" y="183"/>
                      </a:cubicBezTo>
                      <a:cubicBezTo>
                        <a:pt x="499" y="183"/>
                        <a:pt x="499" y="183"/>
                        <a:pt x="499" y="183"/>
                      </a:cubicBezTo>
                      <a:cubicBezTo>
                        <a:pt x="504" y="183"/>
                        <a:pt x="508" y="179"/>
                        <a:pt x="509" y="174"/>
                      </a:cubicBezTo>
                      <a:close/>
                      <a:moveTo>
                        <a:pt x="495" y="441"/>
                      </a:moveTo>
                      <a:cubicBezTo>
                        <a:pt x="504" y="260"/>
                        <a:pt x="504" y="260"/>
                        <a:pt x="504" y="260"/>
                      </a:cubicBezTo>
                      <a:cubicBezTo>
                        <a:pt x="505" y="254"/>
                        <a:pt x="500" y="249"/>
                        <a:pt x="494" y="249"/>
                      </a:cubicBezTo>
                      <a:cubicBezTo>
                        <a:pt x="323" y="249"/>
                        <a:pt x="323" y="249"/>
                        <a:pt x="323" y="249"/>
                      </a:cubicBezTo>
                      <a:cubicBezTo>
                        <a:pt x="318" y="249"/>
                        <a:pt x="314" y="253"/>
                        <a:pt x="313" y="258"/>
                      </a:cubicBezTo>
                      <a:cubicBezTo>
                        <a:pt x="298" y="440"/>
                        <a:pt x="298" y="440"/>
                        <a:pt x="298" y="440"/>
                      </a:cubicBezTo>
                      <a:cubicBezTo>
                        <a:pt x="298" y="445"/>
                        <a:pt x="302" y="450"/>
                        <a:pt x="308" y="450"/>
                      </a:cubicBezTo>
                      <a:cubicBezTo>
                        <a:pt x="485" y="450"/>
                        <a:pt x="485" y="450"/>
                        <a:pt x="485" y="450"/>
                      </a:cubicBezTo>
                      <a:cubicBezTo>
                        <a:pt x="491" y="450"/>
                        <a:pt x="495" y="446"/>
                        <a:pt x="495" y="441"/>
                      </a:cubicBezTo>
                      <a:close/>
                      <a:moveTo>
                        <a:pt x="481" y="735"/>
                      </a:moveTo>
                      <a:cubicBezTo>
                        <a:pt x="491" y="533"/>
                        <a:pt x="491" y="533"/>
                        <a:pt x="491" y="533"/>
                      </a:cubicBezTo>
                      <a:cubicBezTo>
                        <a:pt x="491" y="528"/>
                        <a:pt x="487" y="523"/>
                        <a:pt x="481" y="523"/>
                      </a:cubicBezTo>
                      <a:cubicBezTo>
                        <a:pt x="300" y="523"/>
                        <a:pt x="300" y="523"/>
                        <a:pt x="300" y="523"/>
                      </a:cubicBezTo>
                      <a:cubicBezTo>
                        <a:pt x="295" y="523"/>
                        <a:pt x="291" y="527"/>
                        <a:pt x="290" y="532"/>
                      </a:cubicBezTo>
                      <a:cubicBezTo>
                        <a:pt x="273" y="734"/>
                        <a:pt x="273" y="734"/>
                        <a:pt x="273" y="734"/>
                      </a:cubicBezTo>
                      <a:cubicBezTo>
                        <a:pt x="273" y="739"/>
                        <a:pt x="278" y="744"/>
                        <a:pt x="283" y="744"/>
                      </a:cubicBezTo>
                      <a:cubicBezTo>
                        <a:pt x="471" y="744"/>
                        <a:pt x="471" y="744"/>
                        <a:pt x="471" y="744"/>
                      </a:cubicBezTo>
                      <a:cubicBezTo>
                        <a:pt x="476" y="744"/>
                        <a:pt x="481" y="740"/>
                        <a:pt x="481" y="735"/>
                      </a:cubicBezTo>
                      <a:close/>
                      <a:moveTo>
                        <a:pt x="757" y="173"/>
                      </a:moveTo>
                      <a:cubicBezTo>
                        <a:pt x="758" y="10"/>
                        <a:pt x="758" y="10"/>
                        <a:pt x="758" y="10"/>
                      </a:cubicBezTo>
                      <a:cubicBezTo>
                        <a:pt x="758" y="4"/>
                        <a:pt x="753" y="0"/>
                        <a:pt x="748" y="0"/>
                      </a:cubicBezTo>
                      <a:cubicBezTo>
                        <a:pt x="585" y="0"/>
                        <a:pt x="585" y="0"/>
                        <a:pt x="585" y="0"/>
                      </a:cubicBezTo>
                      <a:cubicBezTo>
                        <a:pt x="579" y="0"/>
                        <a:pt x="575" y="4"/>
                        <a:pt x="575" y="10"/>
                      </a:cubicBezTo>
                      <a:cubicBezTo>
                        <a:pt x="569" y="173"/>
                        <a:pt x="569" y="173"/>
                        <a:pt x="569" y="173"/>
                      </a:cubicBezTo>
                      <a:cubicBezTo>
                        <a:pt x="568" y="179"/>
                        <a:pt x="573" y="183"/>
                        <a:pt x="579" y="183"/>
                      </a:cubicBezTo>
                      <a:cubicBezTo>
                        <a:pt x="747" y="183"/>
                        <a:pt x="747" y="183"/>
                        <a:pt x="747" y="183"/>
                      </a:cubicBezTo>
                      <a:cubicBezTo>
                        <a:pt x="752" y="183"/>
                        <a:pt x="757" y="179"/>
                        <a:pt x="757" y="173"/>
                      </a:cubicBezTo>
                      <a:close/>
                      <a:moveTo>
                        <a:pt x="756" y="440"/>
                      </a:moveTo>
                      <a:cubicBezTo>
                        <a:pt x="757" y="259"/>
                        <a:pt x="757" y="259"/>
                        <a:pt x="757" y="259"/>
                      </a:cubicBezTo>
                      <a:cubicBezTo>
                        <a:pt x="757" y="254"/>
                        <a:pt x="752" y="249"/>
                        <a:pt x="747" y="249"/>
                      </a:cubicBezTo>
                      <a:cubicBezTo>
                        <a:pt x="575" y="249"/>
                        <a:pt x="575" y="249"/>
                        <a:pt x="575" y="249"/>
                      </a:cubicBezTo>
                      <a:cubicBezTo>
                        <a:pt x="570" y="249"/>
                        <a:pt x="565" y="254"/>
                        <a:pt x="565" y="259"/>
                      </a:cubicBezTo>
                      <a:cubicBezTo>
                        <a:pt x="558" y="440"/>
                        <a:pt x="558" y="440"/>
                        <a:pt x="558" y="440"/>
                      </a:cubicBezTo>
                      <a:cubicBezTo>
                        <a:pt x="558" y="446"/>
                        <a:pt x="562" y="450"/>
                        <a:pt x="568" y="450"/>
                      </a:cubicBezTo>
                      <a:cubicBezTo>
                        <a:pt x="746" y="450"/>
                        <a:pt x="746" y="450"/>
                        <a:pt x="746" y="450"/>
                      </a:cubicBezTo>
                      <a:cubicBezTo>
                        <a:pt x="751" y="450"/>
                        <a:pt x="756" y="446"/>
                        <a:pt x="756" y="440"/>
                      </a:cubicBezTo>
                      <a:close/>
                      <a:moveTo>
                        <a:pt x="754" y="734"/>
                      </a:moveTo>
                      <a:cubicBezTo>
                        <a:pt x="755" y="533"/>
                        <a:pt x="755" y="533"/>
                        <a:pt x="755" y="533"/>
                      </a:cubicBezTo>
                      <a:cubicBezTo>
                        <a:pt x="755" y="527"/>
                        <a:pt x="751" y="523"/>
                        <a:pt x="745" y="523"/>
                      </a:cubicBezTo>
                      <a:cubicBezTo>
                        <a:pt x="565" y="523"/>
                        <a:pt x="565" y="523"/>
                        <a:pt x="565" y="523"/>
                      </a:cubicBezTo>
                      <a:cubicBezTo>
                        <a:pt x="559" y="523"/>
                        <a:pt x="555" y="527"/>
                        <a:pt x="555" y="532"/>
                      </a:cubicBezTo>
                      <a:cubicBezTo>
                        <a:pt x="547" y="734"/>
                        <a:pt x="547" y="734"/>
                        <a:pt x="547" y="734"/>
                      </a:cubicBezTo>
                      <a:cubicBezTo>
                        <a:pt x="546" y="740"/>
                        <a:pt x="551" y="744"/>
                        <a:pt x="557" y="744"/>
                      </a:cubicBezTo>
                      <a:cubicBezTo>
                        <a:pt x="744" y="744"/>
                        <a:pt x="744" y="744"/>
                        <a:pt x="744" y="744"/>
                      </a:cubicBezTo>
                      <a:cubicBezTo>
                        <a:pt x="750" y="744"/>
                        <a:pt x="754" y="740"/>
                        <a:pt x="754" y="734"/>
                      </a:cubicBezTo>
                      <a:close/>
                      <a:moveTo>
                        <a:pt x="1005" y="173"/>
                      </a:moveTo>
                      <a:cubicBezTo>
                        <a:pt x="999" y="10"/>
                        <a:pt x="999" y="10"/>
                        <a:pt x="999" y="10"/>
                      </a:cubicBezTo>
                      <a:cubicBezTo>
                        <a:pt x="998" y="4"/>
                        <a:pt x="994" y="0"/>
                        <a:pt x="989" y="0"/>
                      </a:cubicBezTo>
                      <a:cubicBezTo>
                        <a:pt x="826" y="0"/>
                        <a:pt x="826" y="0"/>
                        <a:pt x="826" y="0"/>
                      </a:cubicBezTo>
                      <a:cubicBezTo>
                        <a:pt x="820" y="0"/>
                        <a:pt x="816" y="4"/>
                        <a:pt x="816" y="10"/>
                      </a:cubicBezTo>
                      <a:cubicBezTo>
                        <a:pt x="817" y="173"/>
                        <a:pt x="817" y="173"/>
                        <a:pt x="817" y="173"/>
                      </a:cubicBezTo>
                      <a:cubicBezTo>
                        <a:pt x="817" y="179"/>
                        <a:pt x="821" y="183"/>
                        <a:pt x="827" y="183"/>
                      </a:cubicBezTo>
                      <a:cubicBezTo>
                        <a:pt x="995" y="183"/>
                        <a:pt x="995" y="183"/>
                        <a:pt x="995" y="183"/>
                      </a:cubicBezTo>
                      <a:cubicBezTo>
                        <a:pt x="1001" y="183"/>
                        <a:pt x="1005" y="179"/>
                        <a:pt x="1005" y="173"/>
                      </a:cubicBezTo>
                      <a:close/>
                      <a:moveTo>
                        <a:pt x="1016" y="440"/>
                      </a:moveTo>
                      <a:cubicBezTo>
                        <a:pt x="1009" y="259"/>
                        <a:pt x="1009" y="259"/>
                        <a:pt x="1009" y="259"/>
                      </a:cubicBezTo>
                      <a:cubicBezTo>
                        <a:pt x="1008" y="254"/>
                        <a:pt x="1004" y="249"/>
                        <a:pt x="999" y="249"/>
                      </a:cubicBezTo>
                      <a:cubicBezTo>
                        <a:pt x="827" y="249"/>
                        <a:pt x="827" y="249"/>
                        <a:pt x="827" y="249"/>
                      </a:cubicBezTo>
                      <a:cubicBezTo>
                        <a:pt x="822" y="249"/>
                        <a:pt x="817" y="254"/>
                        <a:pt x="817" y="259"/>
                      </a:cubicBezTo>
                      <a:cubicBezTo>
                        <a:pt x="818" y="440"/>
                        <a:pt x="818" y="440"/>
                        <a:pt x="818" y="440"/>
                      </a:cubicBezTo>
                      <a:cubicBezTo>
                        <a:pt x="818" y="446"/>
                        <a:pt x="823" y="450"/>
                        <a:pt x="828" y="450"/>
                      </a:cubicBezTo>
                      <a:cubicBezTo>
                        <a:pt x="1006" y="450"/>
                        <a:pt x="1006" y="450"/>
                        <a:pt x="1006" y="450"/>
                      </a:cubicBezTo>
                      <a:cubicBezTo>
                        <a:pt x="1011" y="450"/>
                        <a:pt x="1016" y="446"/>
                        <a:pt x="1016" y="440"/>
                      </a:cubicBezTo>
                      <a:close/>
                      <a:moveTo>
                        <a:pt x="1027" y="734"/>
                      </a:moveTo>
                      <a:cubicBezTo>
                        <a:pt x="1019" y="532"/>
                        <a:pt x="1019" y="532"/>
                        <a:pt x="1019" y="532"/>
                      </a:cubicBezTo>
                      <a:cubicBezTo>
                        <a:pt x="1019" y="527"/>
                        <a:pt x="1015" y="523"/>
                        <a:pt x="1009" y="523"/>
                      </a:cubicBezTo>
                      <a:cubicBezTo>
                        <a:pt x="829" y="523"/>
                        <a:pt x="829" y="523"/>
                        <a:pt x="829" y="523"/>
                      </a:cubicBezTo>
                      <a:cubicBezTo>
                        <a:pt x="823" y="523"/>
                        <a:pt x="819" y="527"/>
                        <a:pt x="819" y="533"/>
                      </a:cubicBezTo>
                      <a:cubicBezTo>
                        <a:pt x="820" y="734"/>
                        <a:pt x="820" y="734"/>
                        <a:pt x="820" y="734"/>
                      </a:cubicBezTo>
                      <a:cubicBezTo>
                        <a:pt x="820" y="740"/>
                        <a:pt x="824" y="744"/>
                        <a:pt x="830" y="744"/>
                      </a:cubicBezTo>
                      <a:cubicBezTo>
                        <a:pt x="1017" y="744"/>
                        <a:pt x="1017" y="744"/>
                        <a:pt x="1017" y="744"/>
                      </a:cubicBezTo>
                      <a:cubicBezTo>
                        <a:pt x="1023" y="744"/>
                        <a:pt x="1028" y="740"/>
                        <a:pt x="1027" y="734"/>
                      </a:cubicBezTo>
                      <a:close/>
                      <a:moveTo>
                        <a:pt x="1253" y="173"/>
                      </a:moveTo>
                      <a:cubicBezTo>
                        <a:pt x="1239" y="9"/>
                        <a:pt x="1239" y="9"/>
                        <a:pt x="1239" y="9"/>
                      </a:cubicBezTo>
                      <a:cubicBezTo>
                        <a:pt x="1239" y="4"/>
                        <a:pt x="1235" y="0"/>
                        <a:pt x="1229" y="0"/>
                      </a:cubicBezTo>
                      <a:cubicBezTo>
                        <a:pt x="1067" y="0"/>
                        <a:pt x="1067" y="0"/>
                        <a:pt x="1067" y="0"/>
                      </a:cubicBezTo>
                      <a:cubicBezTo>
                        <a:pt x="1061" y="0"/>
                        <a:pt x="1056" y="5"/>
                        <a:pt x="1057" y="10"/>
                      </a:cubicBezTo>
                      <a:cubicBezTo>
                        <a:pt x="1065" y="174"/>
                        <a:pt x="1065" y="174"/>
                        <a:pt x="1065" y="174"/>
                      </a:cubicBezTo>
                      <a:cubicBezTo>
                        <a:pt x="1065" y="179"/>
                        <a:pt x="1070" y="183"/>
                        <a:pt x="1075" y="183"/>
                      </a:cubicBezTo>
                      <a:cubicBezTo>
                        <a:pt x="1243" y="183"/>
                        <a:pt x="1243" y="183"/>
                        <a:pt x="1243" y="183"/>
                      </a:cubicBezTo>
                      <a:cubicBezTo>
                        <a:pt x="1249" y="183"/>
                        <a:pt x="1254" y="178"/>
                        <a:pt x="1253" y="173"/>
                      </a:cubicBezTo>
                      <a:close/>
                      <a:moveTo>
                        <a:pt x="1276" y="440"/>
                      </a:moveTo>
                      <a:cubicBezTo>
                        <a:pt x="1260" y="258"/>
                        <a:pt x="1260" y="258"/>
                        <a:pt x="1260" y="258"/>
                      </a:cubicBezTo>
                      <a:cubicBezTo>
                        <a:pt x="1260" y="253"/>
                        <a:pt x="1256" y="249"/>
                        <a:pt x="1251" y="249"/>
                      </a:cubicBezTo>
                      <a:cubicBezTo>
                        <a:pt x="1079" y="249"/>
                        <a:pt x="1079" y="249"/>
                        <a:pt x="1079" y="249"/>
                      </a:cubicBezTo>
                      <a:cubicBezTo>
                        <a:pt x="1073" y="249"/>
                        <a:pt x="1069" y="254"/>
                        <a:pt x="1069" y="260"/>
                      </a:cubicBezTo>
                      <a:cubicBezTo>
                        <a:pt x="1078" y="441"/>
                        <a:pt x="1078" y="441"/>
                        <a:pt x="1078" y="441"/>
                      </a:cubicBezTo>
                      <a:cubicBezTo>
                        <a:pt x="1079" y="446"/>
                        <a:pt x="1083" y="450"/>
                        <a:pt x="1088" y="450"/>
                      </a:cubicBezTo>
                      <a:cubicBezTo>
                        <a:pt x="1266" y="450"/>
                        <a:pt x="1266" y="450"/>
                        <a:pt x="1266" y="450"/>
                      </a:cubicBezTo>
                      <a:cubicBezTo>
                        <a:pt x="1272" y="450"/>
                        <a:pt x="1276" y="445"/>
                        <a:pt x="1276" y="440"/>
                      </a:cubicBezTo>
                      <a:close/>
                      <a:moveTo>
                        <a:pt x="1301" y="734"/>
                      </a:moveTo>
                      <a:cubicBezTo>
                        <a:pt x="1284" y="532"/>
                        <a:pt x="1284" y="532"/>
                        <a:pt x="1284" y="532"/>
                      </a:cubicBezTo>
                      <a:cubicBezTo>
                        <a:pt x="1283" y="527"/>
                        <a:pt x="1279" y="523"/>
                        <a:pt x="1274" y="523"/>
                      </a:cubicBezTo>
                      <a:cubicBezTo>
                        <a:pt x="1093" y="523"/>
                        <a:pt x="1093" y="523"/>
                        <a:pt x="1093" y="523"/>
                      </a:cubicBezTo>
                      <a:cubicBezTo>
                        <a:pt x="1087" y="523"/>
                        <a:pt x="1083" y="528"/>
                        <a:pt x="1083" y="533"/>
                      </a:cubicBezTo>
                      <a:cubicBezTo>
                        <a:pt x="1093" y="735"/>
                        <a:pt x="1093" y="735"/>
                        <a:pt x="1093" y="735"/>
                      </a:cubicBezTo>
                      <a:cubicBezTo>
                        <a:pt x="1094" y="740"/>
                        <a:pt x="1098" y="744"/>
                        <a:pt x="1103" y="744"/>
                      </a:cubicBezTo>
                      <a:cubicBezTo>
                        <a:pt x="1291" y="744"/>
                        <a:pt x="1291" y="744"/>
                        <a:pt x="1291" y="744"/>
                      </a:cubicBezTo>
                      <a:cubicBezTo>
                        <a:pt x="1297" y="744"/>
                        <a:pt x="1301" y="739"/>
                        <a:pt x="1301" y="734"/>
                      </a:cubicBezTo>
                      <a:close/>
                      <a:moveTo>
                        <a:pt x="1501" y="172"/>
                      </a:moveTo>
                      <a:cubicBezTo>
                        <a:pt x="1480" y="9"/>
                        <a:pt x="1480" y="9"/>
                        <a:pt x="1480" y="9"/>
                      </a:cubicBezTo>
                      <a:cubicBezTo>
                        <a:pt x="1480" y="4"/>
                        <a:pt x="1475" y="0"/>
                        <a:pt x="1470" y="0"/>
                      </a:cubicBezTo>
                      <a:cubicBezTo>
                        <a:pt x="1307" y="0"/>
                        <a:pt x="1307" y="0"/>
                        <a:pt x="1307" y="0"/>
                      </a:cubicBezTo>
                      <a:cubicBezTo>
                        <a:pt x="1302" y="0"/>
                        <a:pt x="1297" y="5"/>
                        <a:pt x="1298" y="11"/>
                      </a:cubicBezTo>
                      <a:cubicBezTo>
                        <a:pt x="1313" y="174"/>
                        <a:pt x="1313" y="174"/>
                        <a:pt x="1313" y="174"/>
                      </a:cubicBezTo>
                      <a:cubicBezTo>
                        <a:pt x="1314" y="179"/>
                        <a:pt x="1318" y="183"/>
                        <a:pt x="1323" y="183"/>
                      </a:cubicBezTo>
                      <a:cubicBezTo>
                        <a:pt x="1491" y="183"/>
                        <a:pt x="1491" y="183"/>
                        <a:pt x="1491" y="183"/>
                      </a:cubicBezTo>
                      <a:cubicBezTo>
                        <a:pt x="1497" y="183"/>
                        <a:pt x="1502" y="178"/>
                        <a:pt x="1501" y="172"/>
                      </a:cubicBezTo>
                      <a:close/>
                      <a:moveTo>
                        <a:pt x="1536" y="439"/>
                      </a:moveTo>
                      <a:cubicBezTo>
                        <a:pt x="1512" y="258"/>
                        <a:pt x="1512" y="258"/>
                        <a:pt x="1512" y="258"/>
                      </a:cubicBezTo>
                      <a:cubicBezTo>
                        <a:pt x="1512" y="253"/>
                        <a:pt x="1508" y="249"/>
                        <a:pt x="1503" y="249"/>
                      </a:cubicBezTo>
                      <a:cubicBezTo>
                        <a:pt x="1331" y="249"/>
                        <a:pt x="1331" y="249"/>
                        <a:pt x="1331" y="249"/>
                      </a:cubicBezTo>
                      <a:cubicBezTo>
                        <a:pt x="1325" y="249"/>
                        <a:pt x="1321" y="254"/>
                        <a:pt x="1321" y="260"/>
                      </a:cubicBezTo>
                      <a:cubicBezTo>
                        <a:pt x="1339" y="441"/>
                        <a:pt x="1339" y="441"/>
                        <a:pt x="1339" y="441"/>
                      </a:cubicBezTo>
                      <a:cubicBezTo>
                        <a:pt x="1339" y="446"/>
                        <a:pt x="1343" y="450"/>
                        <a:pt x="1349" y="450"/>
                      </a:cubicBezTo>
                      <a:cubicBezTo>
                        <a:pt x="1526" y="450"/>
                        <a:pt x="1526" y="450"/>
                        <a:pt x="1526" y="450"/>
                      </a:cubicBezTo>
                      <a:cubicBezTo>
                        <a:pt x="1532" y="450"/>
                        <a:pt x="1537" y="445"/>
                        <a:pt x="1536" y="439"/>
                      </a:cubicBezTo>
                      <a:close/>
                      <a:moveTo>
                        <a:pt x="1574" y="733"/>
                      </a:moveTo>
                      <a:cubicBezTo>
                        <a:pt x="1548" y="532"/>
                        <a:pt x="1548" y="532"/>
                        <a:pt x="1548" y="532"/>
                      </a:cubicBezTo>
                      <a:cubicBezTo>
                        <a:pt x="1547" y="527"/>
                        <a:pt x="1543" y="523"/>
                        <a:pt x="1538" y="523"/>
                      </a:cubicBezTo>
                      <a:cubicBezTo>
                        <a:pt x="1357" y="523"/>
                        <a:pt x="1357" y="523"/>
                        <a:pt x="1357" y="523"/>
                      </a:cubicBezTo>
                      <a:cubicBezTo>
                        <a:pt x="1351" y="523"/>
                        <a:pt x="1347" y="528"/>
                        <a:pt x="1347" y="534"/>
                      </a:cubicBezTo>
                      <a:cubicBezTo>
                        <a:pt x="1367" y="735"/>
                        <a:pt x="1367" y="735"/>
                        <a:pt x="1367" y="735"/>
                      </a:cubicBezTo>
                      <a:cubicBezTo>
                        <a:pt x="1367" y="741"/>
                        <a:pt x="1371" y="744"/>
                        <a:pt x="1377" y="744"/>
                      </a:cubicBezTo>
                      <a:cubicBezTo>
                        <a:pt x="1564" y="744"/>
                        <a:pt x="1564" y="744"/>
                        <a:pt x="1564" y="744"/>
                      </a:cubicBezTo>
                      <a:cubicBezTo>
                        <a:pt x="1570" y="744"/>
                        <a:pt x="1575" y="739"/>
                        <a:pt x="1574" y="733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  <p:sp>
              <p:nvSpPr>
                <p:cNvPr id="254" name="Freeform 16">
                  <a:extLst>
                    <a:ext uri="{FF2B5EF4-FFF2-40B4-BE49-F238E27FC236}">
                      <a16:creationId xmlns:a16="http://schemas.microsoft.com/office/drawing/2014/main" id="{129A35AC-9045-6EF0-399B-A1EA28C67DE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8106" y="3007614"/>
                  <a:ext cx="1337310" cy="933450"/>
                </a:xfrm>
                <a:custGeom>
                  <a:avLst/>
                  <a:gdLst>
                    <a:gd name="T0" fmla="*/ 1873 w 1874"/>
                    <a:gd name="T1" fmla="*/ 1010 h 1307"/>
                    <a:gd name="T2" fmla="*/ 1728 w 1874"/>
                    <a:gd name="T3" fmla="*/ 19 h 1307"/>
                    <a:gd name="T4" fmla="*/ 1706 w 1874"/>
                    <a:gd name="T5" fmla="*/ 0 h 1307"/>
                    <a:gd name="T6" fmla="*/ 168 w 1874"/>
                    <a:gd name="T7" fmla="*/ 0 h 1307"/>
                    <a:gd name="T8" fmla="*/ 146 w 1874"/>
                    <a:gd name="T9" fmla="*/ 19 h 1307"/>
                    <a:gd name="T10" fmla="*/ 1 w 1874"/>
                    <a:gd name="T11" fmla="*/ 1010 h 1307"/>
                    <a:gd name="T12" fmla="*/ 6 w 1874"/>
                    <a:gd name="T13" fmla="*/ 1027 h 1307"/>
                    <a:gd name="T14" fmla="*/ 23 w 1874"/>
                    <a:gd name="T15" fmla="*/ 1035 h 1307"/>
                    <a:gd name="T16" fmla="*/ 855 w 1874"/>
                    <a:gd name="T17" fmla="*/ 1035 h 1307"/>
                    <a:gd name="T18" fmla="*/ 855 w 1874"/>
                    <a:gd name="T19" fmla="*/ 1037 h 1307"/>
                    <a:gd name="T20" fmla="*/ 855 w 1874"/>
                    <a:gd name="T21" fmla="*/ 1307 h 1307"/>
                    <a:gd name="T22" fmla="*/ 899 w 1874"/>
                    <a:gd name="T23" fmla="*/ 1307 h 1307"/>
                    <a:gd name="T24" fmla="*/ 899 w 1874"/>
                    <a:gd name="T25" fmla="*/ 1037 h 1307"/>
                    <a:gd name="T26" fmla="*/ 899 w 1874"/>
                    <a:gd name="T27" fmla="*/ 1035 h 1307"/>
                    <a:gd name="T28" fmla="*/ 975 w 1874"/>
                    <a:gd name="T29" fmla="*/ 1035 h 1307"/>
                    <a:gd name="T30" fmla="*/ 975 w 1874"/>
                    <a:gd name="T31" fmla="*/ 1037 h 1307"/>
                    <a:gd name="T32" fmla="*/ 975 w 1874"/>
                    <a:gd name="T33" fmla="*/ 1307 h 1307"/>
                    <a:gd name="T34" fmla="*/ 1019 w 1874"/>
                    <a:gd name="T35" fmla="*/ 1307 h 1307"/>
                    <a:gd name="T36" fmla="*/ 1019 w 1874"/>
                    <a:gd name="T37" fmla="*/ 1037 h 1307"/>
                    <a:gd name="T38" fmla="*/ 1019 w 1874"/>
                    <a:gd name="T39" fmla="*/ 1035 h 1307"/>
                    <a:gd name="T40" fmla="*/ 1851 w 1874"/>
                    <a:gd name="T41" fmla="*/ 1035 h 1307"/>
                    <a:gd name="T42" fmla="*/ 1868 w 1874"/>
                    <a:gd name="T43" fmla="*/ 1027 h 1307"/>
                    <a:gd name="T44" fmla="*/ 1873 w 1874"/>
                    <a:gd name="T45" fmla="*/ 1010 h 1307"/>
                    <a:gd name="T46" fmla="*/ 48 w 1874"/>
                    <a:gd name="T47" fmla="*/ 991 h 1307"/>
                    <a:gd name="T48" fmla="*/ 187 w 1874"/>
                    <a:gd name="T49" fmla="*/ 44 h 1307"/>
                    <a:gd name="T50" fmla="*/ 1687 w 1874"/>
                    <a:gd name="T51" fmla="*/ 44 h 1307"/>
                    <a:gd name="T52" fmla="*/ 1826 w 1874"/>
                    <a:gd name="T53" fmla="*/ 991 h 1307"/>
                    <a:gd name="T54" fmla="*/ 48 w 1874"/>
                    <a:gd name="T55" fmla="*/ 991 h 13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874" h="1307">
                      <a:moveTo>
                        <a:pt x="1873" y="1010"/>
                      </a:moveTo>
                      <a:cubicBezTo>
                        <a:pt x="1728" y="19"/>
                        <a:pt x="1728" y="19"/>
                        <a:pt x="1728" y="19"/>
                      </a:cubicBezTo>
                      <a:cubicBezTo>
                        <a:pt x="1727" y="8"/>
                        <a:pt x="1717" y="0"/>
                        <a:pt x="1706" y="0"/>
                      </a:cubicBezTo>
                      <a:cubicBezTo>
                        <a:pt x="168" y="0"/>
                        <a:pt x="168" y="0"/>
                        <a:pt x="168" y="0"/>
                      </a:cubicBezTo>
                      <a:cubicBezTo>
                        <a:pt x="157" y="0"/>
                        <a:pt x="147" y="8"/>
                        <a:pt x="146" y="19"/>
                      </a:cubicBezTo>
                      <a:cubicBezTo>
                        <a:pt x="1" y="1010"/>
                        <a:pt x="1" y="1010"/>
                        <a:pt x="1" y="1010"/>
                      </a:cubicBezTo>
                      <a:cubicBezTo>
                        <a:pt x="0" y="1016"/>
                        <a:pt x="2" y="1023"/>
                        <a:pt x="6" y="1027"/>
                      </a:cubicBezTo>
                      <a:cubicBezTo>
                        <a:pt x="11" y="1032"/>
                        <a:pt x="17" y="1035"/>
                        <a:pt x="23" y="1035"/>
                      </a:cubicBezTo>
                      <a:cubicBezTo>
                        <a:pt x="855" y="1035"/>
                        <a:pt x="855" y="1035"/>
                        <a:pt x="855" y="1035"/>
                      </a:cubicBezTo>
                      <a:cubicBezTo>
                        <a:pt x="855" y="1036"/>
                        <a:pt x="855" y="1036"/>
                        <a:pt x="855" y="1037"/>
                      </a:cubicBezTo>
                      <a:cubicBezTo>
                        <a:pt x="855" y="1307"/>
                        <a:pt x="855" y="1307"/>
                        <a:pt x="855" y="1307"/>
                      </a:cubicBezTo>
                      <a:cubicBezTo>
                        <a:pt x="899" y="1307"/>
                        <a:pt x="899" y="1307"/>
                        <a:pt x="899" y="1307"/>
                      </a:cubicBezTo>
                      <a:cubicBezTo>
                        <a:pt x="899" y="1037"/>
                        <a:pt x="899" y="1037"/>
                        <a:pt x="899" y="1037"/>
                      </a:cubicBezTo>
                      <a:cubicBezTo>
                        <a:pt x="899" y="1036"/>
                        <a:pt x="899" y="1036"/>
                        <a:pt x="899" y="1035"/>
                      </a:cubicBezTo>
                      <a:cubicBezTo>
                        <a:pt x="975" y="1035"/>
                        <a:pt x="975" y="1035"/>
                        <a:pt x="975" y="1035"/>
                      </a:cubicBezTo>
                      <a:cubicBezTo>
                        <a:pt x="975" y="1036"/>
                        <a:pt x="975" y="1036"/>
                        <a:pt x="975" y="1037"/>
                      </a:cubicBezTo>
                      <a:cubicBezTo>
                        <a:pt x="975" y="1307"/>
                        <a:pt x="975" y="1307"/>
                        <a:pt x="975" y="1307"/>
                      </a:cubicBezTo>
                      <a:cubicBezTo>
                        <a:pt x="1019" y="1307"/>
                        <a:pt x="1019" y="1307"/>
                        <a:pt x="1019" y="1307"/>
                      </a:cubicBezTo>
                      <a:cubicBezTo>
                        <a:pt x="1019" y="1037"/>
                        <a:pt x="1019" y="1037"/>
                        <a:pt x="1019" y="1037"/>
                      </a:cubicBezTo>
                      <a:cubicBezTo>
                        <a:pt x="1019" y="1036"/>
                        <a:pt x="1019" y="1036"/>
                        <a:pt x="1019" y="1035"/>
                      </a:cubicBezTo>
                      <a:cubicBezTo>
                        <a:pt x="1851" y="1035"/>
                        <a:pt x="1851" y="1035"/>
                        <a:pt x="1851" y="1035"/>
                      </a:cubicBezTo>
                      <a:cubicBezTo>
                        <a:pt x="1857" y="1035"/>
                        <a:pt x="1863" y="1032"/>
                        <a:pt x="1868" y="1027"/>
                      </a:cubicBezTo>
                      <a:cubicBezTo>
                        <a:pt x="1872" y="1023"/>
                        <a:pt x="1874" y="1016"/>
                        <a:pt x="1873" y="1010"/>
                      </a:cubicBezTo>
                      <a:close/>
                      <a:moveTo>
                        <a:pt x="48" y="991"/>
                      </a:moveTo>
                      <a:cubicBezTo>
                        <a:pt x="187" y="44"/>
                        <a:pt x="187" y="44"/>
                        <a:pt x="187" y="44"/>
                      </a:cubicBezTo>
                      <a:cubicBezTo>
                        <a:pt x="1687" y="44"/>
                        <a:pt x="1687" y="44"/>
                        <a:pt x="1687" y="44"/>
                      </a:cubicBezTo>
                      <a:cubicBezTo>
                        <a:pt x="1826" y="991"/>
                        <a:pt x="1826" y="991"/>
                        <a:pt x="1826" y="991"/>
                      </a:cubicBezTo>
                      <a:lnTo>
                        <a:pt x="48" y="99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600" dirty="0"/>
                </a:p>
              </p:txBody>
            </p:sp>
          </p:grpSp>
        </p:grpSp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8BCB5AED-55D1-6D03-6E32-A59F4D8DB032}"/>
                </a:ext>
              </a:extLst>
            </p:cNvPr>
            <p:cNvSpPr/>
            <p:nvPr/>
          </p:nvSpPr>
          <p:spPr>
            <a:xfrm>
              <a:off x="9313859" y="5725002"/>
              <a:ext cx="454733" cy="2607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sp>
        <p:nvSpPr>
          <p:cNvPr id="267" name="Rectangle 266">
            <a:extLst>
              <a:ext uri="{FF2B5EF4-FFF2-40B4-BE49-F238E27FC236}">
                <a16:creationId xmlns:a16="http://schemas.microsoft.com/office/drawing/2014/main" id="{D03A9ADE-FB57-CC0E-782F-5155D6764641}"/>
              </a:ext>
            </a:extLst>
          </p:cNvPr>
          <p:cNvSpPr/>
          <p:nvPr/>
        </p:nvSpPr>
        <p:spPr>
          <a:xfrm>
            <a:off x="4310659" y="5939914"/>
            <a:ext cx="454733" cy="260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68" name="Freeform 905">
            <a:extLst>
              <a:ext uri="{FF2B5EF4-FFF2-40B4-BE49-F238E27FC236}">
                <a16:creationId xmlns:a16="http://schemas.microsoft.com/office/drawing/2014/main" id="{AC18D692-BC81-6F48-9301-973A79B9688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61736" y="6160914"/>
            <a:ext cx="255138" cy="235933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2700C74A-EBFB-DF1F-29A6-790287D16563}"/>
              </a:ext>
            </a:extLst>
          </p:cNvPr>
          <p:cNvCxnSpPr>
            <a:cxnSpLocks/>
          </p:cNvCxnSpPr>
          <p:nvPr/>
        </p:nvCxnSpPr>
        <p:spPr>
          <a:xfrm>
            <a:off x="6013889" y="5783038"/>
            <a:ext cx="145979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85127AC6-5563-18C9-87BE-C5EDB56A73A7}"/>
              </a:ext>
            </a:extLst>
          </p:cNvPr>
          <p:cNvCxnSpPr>
            <a:cxnSpLocks/>
          </p:cNvCxnSpPr>
          <p:nvPr/>
        </p:nvCxnSpPr>
        <p:spPr>
          <a:xfrm>
            <a:off x="2230734" y="4179149"/>
            <a:ext cx="9358816" cy="0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C113A322-F6CC-953E-3F4D-8C04AF2DB858}"/>
              </a:ext>
            </a:extLst>
          </p:cNvPr>
          <p:cNvCxnSpPr>
            <a:cxnSpLocks/>
          </p:cNvCxnSpPr>
          <p:nvPr/>
        </p:nvCxnSpPr>
        <p:spPr>
          <a:xfrm>
            <a:off x="2230734" y="5037696"/>
            <a:ext cx="9358816" cy="0"/>
          </a:xfrm>
          <a:prstGeom prst="line">
            <a:avLst/>
          </a:prstGeom>
          <a:ln w="6350" cap="flat" cmpd="sng" algn="ctr">
            <a:solidFill>
              <a:srgbClr val="A0A0A0"/>
            </a:solidFill>
            <a:prstDash val="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Freeform 905">
            <a:extLst>
              <a:ext uri="{FF2B5EF4-FFF2-40B4-BE49-F238E27FC236}">
                <a16:creationId xmlns:a16="http://schemas.microsoft.com/office/drawing/2014/main" id="{273D80EF-8203-3CF4-70C0-51527698801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77406" y="4490456"/>
            <a:ext cx="255138" cy="235933"/>
          </a:xfrm>
          <a:custGeom>
            <a:avLst/>
            <a:gdLst>
              <a:gd name="T0" fmla="*/ 582 w 589"/>
              <a:gd name="T1" fmla="*/ 482 h 543"/>
              <a:gd name="T2" fmla="*/ 582 w 589"/>
              <a:gd name="T3" fmla="*/ 523 h 543"/>
              <a:gd name="T4" fmla="*/ 546 w 589"/>
              <a:gd name="T5" fmla="*/ 543 h 543"/>
              <a:gd name="T6" fmla="*/ 44 w 589"/>
              <a:gd name="T7" fmla="*/ 543 h 543"/>
              <a:gd name="T8" fmla="*/ 8 w 589"/>
              <a:gd name="T9" fmla="*/ 523 h 543"/>
              <a:gd name="T10" fmla="*/ 7 w 589"/>
              <a:gd name="T11" fmla="*/ 482 h 543"/>
              <a:gd name="T12" fmla="*/ 258 w 589"/>
              <a:gd name="T13" fmla="*/ 21 h 543"/>
              <a:gd name="T14" fmla="*/ 295 w 589"/>
              <a:gd name="T15" fmla="*/ 0 h 543"/>
              <a:gd name="T16" fmla="*/ 331 w 589"/>
              <a:gd name="T17" fmla="*/ 21 h 543"/>
              <a:gd name="T18" fmla="*/ 582 w 589"/>
              <a:gd name="T19" fmla="*/ 482 h 543"/>
              <a:gd name="T20" fmla="*/ 342 w 589"/>
              <a:gd name="T21" fmla="*/ 177 h 543"/>
              <a:gd name="T22" fmla="*/ 338 w 589"/>
              <a:gd name="T23" fmla="*/ 170 h 543"/>
              <a:gd name="T24" fmla="*/ 331 w 589"/>
              <a:gd name="T25" fmla="*/ 167 h 543"/>
              <a:gd name="T26" fmla="*/ 259 w 589"/>
              <a:gd name="T27" fmla="*/ 167 h 543"/>
              <a:gd name="T28" fmla="*/ 251 w 589"/>
              <a:gd name="T29" fmla="*/ 170 h 543"/>
              <a:gd name="T30" fmla="*/ 248 w 589"/>
              <a:gd name="T31" fmla="*/ 177 h 543"/>
              <a:gd name="T32" fmla="*/ 253 w 589"/>
              <a:gd name="T33" fmla="*/ 327 h 543"/>
              <a:gd name="T34" fmla="*/ 264 w 589"/>
              <a:gd name="T35" fmla="*/ 334 h 543"/>
              <a:gd name="T36" fmla="*/ 325 w 589"/>
              <a:gd name="T37" fmla="*/ 334 h 543"/>
              <a:gd name="T38" fmla="*/ 336 w 589"/>
              <a:gd name="T39" fmla="*/ 327 h 543"/>
              <a:gd name="T40" fmla="*/ 342 w 589"/>
              <a:gd name="T41" fmla="*/ 177 h 543"/>
              <a:gd name="T42" fmla="*/ 336 w 589"/>
              <a:gd name="T43" fmla="*/ 387 h 543"/>
              <a:gd name="T44" fmla="*/ 326 w 589"/>
              <a:gd name="T45" fmla="*/ 376 h 543"/>
              <a:gd name="T46" fmla="*/ 263 w 589"/>
              <a:gd name="T47" fmla="*/ 376 h 543"/>
              <a:gd name="T48" fmla="*/ 253 w 589"/>
              <a:gd name="T49" fmla="*/ 387 h 543"/>
              <a:gd name="T50" fmla="*/ 253 w 589"/>
              <a:gd name="T51" fmla="*/ 449 h 543"/>
              <a:gd name="T52" fmla="*/ 263 w 589"/>
              <a:gd name="T53" fmla="*/ 460 h 543"/>
              <a:gd name="T54" fmla="*/ 326 w 589"/>
              <a:gd name="T55" fmla="*/ 460 h 543"/>
              <a:gd name="T56" fmla="*/ 336 w 589"/>
              <a:gd name="T57" fmla="*/ 449 h 543"/>
              <a:gd name="T58" fmla="*/ 336 w 589"/>
              <a:gd name="T59" fmla="*/ 387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89" h="543">
                <a:moveTo>
                  <a:pt x="582" y="482"/>
                </a:moveTo>
                <a:cubicBezTo>
                  <a:pt x="589" y="494"/>
                  <a:pt x="589" y="510"/>
                  <a:pt x="582" y="523"/>
                </a:cubicBezTo>
                <a:cubicBezTo>
                  <a:pt x="574" y="535"/>
                  <a:pt x="560" y="543"/>
                  <a:pt x="546" y="543"/>
                </a:cubicBezTo>
                <a:cubicBezTo>
                  <a:pt x="44" y="543"/>
                  <a:pt x="44" y="543"/>
                  <a:pt x="44" y="543"/>
                </a:cubicBezTo>
                <a:cubicBezTo>
                  <a:pt x="29" y="543"/>
                  <a:pt x="15" y="535"/>
                  <a:pt x="8" y="523"/>
                </a:cubicBezTo>
                <a:cubicBezTo>
                  <a:pt x="0" y="510"/>
                  <a:pt x="0" y="494"/>
                  <a:pt x="7" y="482"/>
                </a:cubicBezTo>
                <a:cubicBezTo>
                  <a:pt x="258" y="21"/>
                  <a:pt x="258" y="21"/>
                  <a:pt x="258" y="21"/>
                </a:cubicBezTo>
                <a:cubicBezTo>
                  <a:pt x="265" y="8"/>
                  <a:pt x="279" y="0"/>
                  <a:pt x="295" y="0"/>
                </a:cubicBezTo>
                <a:cubicBezTo>
                  <a:pt x="310" y="0"/>
                  <a:pt x="324" y="8"/>
                  <a:pt x="331" y="21"/>
                </a:cubicBezTo>
                <a:lnTo>
                  <a:pt x="582" y="482"/>
                </a:lnTo>
                <a:close/>
                <a:moveTo>
                  <a:pt x="342" y="177"/>
                </a:moveTo>
                <a:cubicBezTo>
                  <a:pt x="342" y="175"/>
                  <a:pt x="341" y="172"/>
                  <a:pt x="338" y="170"/>
                </a:cubicBezTo>
                <a:cubicBezTo>
                  <a:pt x="336" y="169"/>
                  <a:pt x="334" y="167"/>
                  <a:pt x="331" y="167"/>
                </a:cubicBezTo>
                <a:cubicBezTo>
                  <a:pt x="259" y="167"/>
                  <a:pt x="259" y="167"/>
                  <a:pt x="259" y="167"/>
                </a:cubicBezTo>
                <a:cubicBezTo>
                  <a:pt x="256" y="167"/>
                  <a:pt x="253" y="169"/>
                  <a:pt x="251" y="170"/>
                </a:cubicBezTo>
                <a:cubicBezTo>
                  <a:pt x="249" y="172"/>
                  <a:pt x="248" y="175"/>
                  <a:pt x="248" y="177"/>
                </a:cubicBezTo>
                <a:cubicBezTo>
                  <a:pt x="253" y="327"/>
                  <a:pt x="253" y="327"/>
                  <a:pt x="253" y="327"/>
                </a:cubicBezTo>
                <a:cubicBezTo>
                  <a:pt x="253" y="331"/>
                  <a:pt x="258" y="334"/>
                  <a:pt x="264" y="334"/>
                </a:cubicBezTo>
                <a:cubicBezTo>
                  <a:pt x="325" y="334"/>
                  <a:pt x="325" y="334"/>
                  <a:pt x="325" y="334"/>
                </a:cubicBezTo>
                <a:cubicBezTo>
                  <a:pt x="331" y="334"/>
                  <a:pt x="336" y="331"/>
                  <a:pt x="336" y="327"/>
                </a:cubicBezTo>
                <a:lnTo>
                  <a:pt x="342" y="177"/>
                </a:lnTo>
                <a:close/>
                <a:moveTo>
                  <a:pt x="336" y="387"/>
                </a:moveTo>
                <a:cubicBezTo>
                  <a:pt x="336" y="381"/>
                  <a:pt x="332" y="376"/>
                  <a:pt x="326" y="376"/>
                </a:cubicBezTo>
                <a:cubicBezTo>
                  <a:pt x="263" y="376"/>
                  <a:pt x="263" y="376"/>
                  <a:pt x="263" y="376"/>
                </a:cubicBezTo>
                <a:cubicBezTo>
                  <a:pt x="257" y="376"/>
                  <a:pt x="253" y="381"/>
                  <a:pt x="253" y="387"/>
                </a:cubicBezTo>
                <a:cubicBezTo>
                  <a:pt x="253" y="449"/>
                  <a:pt x="253" y="449"/>
                  <a:pt x="253" y="449"/>
                </a:cubicBezTo>
                <a:cubicBezTo>
                  <a:pt x="253" y="455"/>
                  <a:pt x="257" y="460"/>
                  <a:pt x="263" y="460"/>
                </a:cubicBezTo>
                <a:cubicBezTo>
                  <a:pt x="326" y="460"/>
                  <a:pt x="326" y="460"/>
                  <a:pt x="326" y="460"/>
                </a:cubicBezTo>
                <a:cubicBezTo>
                  <a:pt x="332" y="460"/>
                  <a:pt x="336" y="455"/>
                  <a:pt x="336" y="449"/>
                </a:cubicBezTo>
                <a:lnTo>
                  <a:pt x="336" y="38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403430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6" grpId="0"/>
      <p:bldP spid="28" grpId="0"/>
      <p:bldP spid="72" grpId="0"/>
      <p:bldP spid="73" grpId="0"/>
      <p:bldP spid="74" grpId="0"/>
      <p:bldP spid="75" grpId="0"/>
      <p:bldP spid="7" grpId="0"/>
      <p:bldP spid="8" grpId="0"/>
      <p:bldP spid="9" grpId="0"/>
      <p:bldP spid="268" grpId="0" animBg="1"/>
      <p:bldP spid="18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0C49C48-C864-8BF1-D742-2A7D689731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89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B7899123-AD54-E531-29BB-3425B65E6A31}"/>
              </a:ext>
            </a:extLst>
          </p:cNvPr>
          <p:cNvGrpSpPr/>
          <p:nvPr/>
        </p:nvGrpSpPr>
        <p:grpSpPr>
          <a:xfrm>
            <a:off x="6704060" y="2668194"/>
            <a:ext cx="4894475" cy="2801670"/>
            <a:chOff x="6704060" y="2359048"/>
            <a:chExt cx="4894475" cy="280167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DC0B1EAB-ED52-0E8F-F720-5948876B0C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564" t="15767" r="11878" b="7151"/>
            <a:stretch/>
          </p:blipFill>
          <p:spPr>
            <a:xfrm>
              <a:off x="6932428" y="2393272"/>
              <a:ext cx="4666107" cy="2696569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57BFEF3-1F57-BE08-068F-CE6AE8A0C397}"/>
                </a:ext>
              </a:extLst>
            </p:cNvPr>
            <p:cNvSpPr/>
            <p:nvPr/>
          </p:nvSpPr>
          <p:spPr>
            <a:xfrm>
              <a:off x="6704060" y="2359048"/>
              <a:ext cx="1178411" cy="5967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400" dirty="0" err="1">
                  <a:solidFill>
                    <a:schemeClr val="tx1"/>
                  </a:solidFill>
                </a:rPr>
                <a:t>Recycled</a:t>
              </a:r>
              <a:r>
                <a:rPr lang="es-ES" sz="1400" dirty="0">
                  <a:solidFill>
                    <a:schemeClr val="tx1"/>
                  </a:solidFill>
                </a:rPr>
                <a:t> %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CA9D19E-9D6E-FB8F-A18A-BEFDAE45A66F}"/>
                </a:ext>
              </a:extLst>
            </p:cNvPr>
            <p:cNvSpPr/>
            <p:nvPr/>
          </p:nvSpPr>
          <p:spPr>
            <a:xfrm>
              <a:off x="9697279" y="4894080"/>
              <a:ext cx="1752787" cy="2666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400" dirty="0" err="1">
                  <a:solidFill>
                    <a:schemeClr val="tx1"/>
                  </a:solidFill>
                </a:rPr>
                <a:t>Scarcity</a:t>
              </a:r>
              <a:r>
                <a:rPr lang="es-ES" sz="1400" dirty="0">
                  <a:solidFill>
                    <a:schemeClr val="tx1"/>
                  </a:solidFill>
                </a:rPr>
                <a:t> </a:t>
              </a:r>
              <a:r>
                <a:rPr lang="es-ES" sz="1400" dirty="0" err="1">
                  <a:solidFill>
                    <a:schemeClr val="tx1"/>
                  </a:solidFill>
                </a:rPr>
                <a:t>level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62F1B1-04F7-FE1F-E95D-CF171B23F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 err="1"/>
              <a:t>Results</a:t>
            </a:r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F46BD8-49F0-5108-D438-3C4B4633C2CA}"/>
              </a:ext>
            </a:extLst>
          </p:cNvPr>
          <p:cNvSpPr/>
          <p:nvPr/>
        </p:nvSpPr>
        <p:spPr>
          <a:xfrm>
            <a:off x="1379975" y="3118651"/>
            <a:ext cx="1502967" cy="9621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dirty="0" err="1">
                <a:solidFill>
                  <a:schemeClr val="tx1"/>
                </a:solidFill>
              </a:rPr>
              <a:t>Virgin</a:t>
            </a:r>
            <a:r>
              <a:rPr lang="es-ES" sz="1600" dirty="0">
                <a:solidFill>
                  <a:schemeClr val="tx1"/>
                </a:solidFill>
              </a:rPr>
              <a:t> material </a:t>
            </a:r>
            <a:r>
              <a:rPr lang="es-ES" sz="1600" dirty="0" err="1">
                <a:solidFill>
                  <a:schemeClr val="tx1"/>
                </a:solidFill>
              </a:rPr>
              <a:t>consumption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5" name="bcgIcons_Mining">
            <a:extLst>
              <a:ext uri="{FF2B5EF4-FFF2-40B4-BE49-F238E27FC236}">
                <a16:creationId xmlns:a16="http://schemas.microsoft.com/office/drawing/2014/main" id="{4660316A-B13D-E261-5922-DF96FB7A618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82804" y="3929893"/>
            <a:ext cx="559314" cy="569624"/>
            <a:chOff x="1682" y="0"/>
            <a:chExt cx="4316" cy="4320"/>
          </a:xfrm>
        </p:grpSpPr>
        <p:sp>
          <p:nvSpPr>
            <p:cNvPr id="16" name="AutoShape 38">
              <a:extLst>
                <a:ext uri="{FF2B5EF4-FFF2-40B4-BE49-F238E27FC236}">
                  <a16:creationId xmlns:a16="http://schemas.microsoft.com/office/drawing/2014/main" id="{30D47DC2-9B40-ADE3-1AA4-836428DA4E1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06E363BD-FD8D-9ACB-DEFB-86AFEAD45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6" y="1254"/>
              <a:ext cx="3520" cy="2421"/>
            </a:xfrm>
            <a:custGeom>
              <a:avLst/>
              <a:gdLst>
                <a:gd name="T0" fmla="*/ 615 w 1879"/>
                <a:gd name="T1" fmla="*/ 821 h 1291"/>
                <a:gd name="T2" fmla="*/ 526 w 1879"/>
                <a:gd name="T3" fmla="*/ 276 h 1291"/>
                <a:gd name="T4" fmla="*/ 571 w 1879"/>
                <a:gd name="T5" fmla="*/ 826 h 1291"/>
                <a:gd name="T6" fmla="*/ 596 w 1879"/>
                <a:gd name="T7" fmla="*/ 845 h 1291"/>
                <a:gd name="T8" fmla="*/ 917 w 1879"/>
                <a:gd name="T9" fmla="*/ 823 h 1291"/>
                <a:gd name="T10" fmla="*/ 875 w 1879"/>
                <a:gd name="T11" fmla="*/ 276 h 1291"/>
                <a:gd name="T12" fmla="*/ 873 w 1879"/>
                <a:gd name="T13" fmla="*/ 824 h 1291"/>
                <a:gd name="T14" fmla="*/ 896 w 1879"/>
                <a:gd name="T15" fmla="*/ 845 h 1291"/>
                <a:gd name="T16" fmla="*/ 1245 w 1879"/>
                <a:gd name="T17" fmla="*/ 299 h 1291"/>
                <a:gd name="T18" fmla="*/ 1201 w 1879"/>
                <a:gd name="T19" fmla="*/ 297 h 1291"/>
                <a:gd name="T20" fmla="*/ 1196 w 1879"/>
                <a:gd name="T21" fmla="*/ 845 h 1291"/>
                <a:gd name="T22" fmla="*/ 1219 w 1879"/>
                <a:gd name="T23" fmla="*/ 824 h 1291"/>
                <a:gd name="T24" fmla="*/ 1593 w 1879"/>
                <a:gd name="T25" fmla="*/ 301 h 1291"/>
                <a:gd name="T26" fmla="*/ 1549 w 1879"/>
                <a:gd name="T27" fmla="*/ 295 h 1291"/>
                <a:gd name="T28" fmla="*/ 1497 w 1879"/>
                <a:gd name="T29" fmla="*/ 845 h 1291"/>
                <a:gd name="T30" fmla="*/ 1521 w 1879"/>
                <a:gd name="T31" fmla="*/ 826 h 1291"/>
                <a:gd name="T32" fmla="*/ 152 w 1879"/>
                <a:gd name="T33" fmla="*/ 439 h 1291"/>
                <a:gd name="T34" fmla="*/ 19 w 1879"/>
                <a:gd name="T35" fmla="*/ 3 h 1291"/>
                <a:gd name="T36" fmla="*/ 115 w 1879"/>
                <a:gd name="T37" fmla="*/ 472 h 1291"/>
                <a:gd name="T38" fmla="*/ 136 w 1879"/>
                <a:gd name="T39" fmla="*/ 488 h 1291"/>
                <a:gd name="T40" fmla="*/ 253 w 1879"/>
                <a:gd name="T41" fmla="*/ 459 h 1291"/>
                <a:gd name="T42" fmla="*/ 732 w 1879"/>
                <a:gd name="T43" fmla="*/ 1291 h 1291"/>
                <a:gd name="T44" fmla="*/ 732 w 1879"/>
                <a:gd name="T45" fmla="*/ 928 h 1291"/>
                <a:gd name="T46" fmla="*/ 732 w 1879"/>
                <a:gd name="T47" fmla="*/ 1291 h 1291"/>
                <a:gd name="T48" fmla="*/ 594 w 1879"/>
                <a:gd name="T49" fmla="*/ 1110 h 1291"/>
                <a:gd name="T50" fmla="*/ 869 w 1879"/>
                <a:gd name="T51" fmla="*/ 1110 h 1291"/>
                <a:gd name="T52" fmla="*/ 1116 w 1879"/>
                <a:gd name="T53" fmla="*/ 1091 h 1291"/>
                <a:gd name="T54" fmla="*/ 948 w 1879"/>
                <a:gd name="T55" fmla="*/ 1047 h 1291"/>
                <a:gd name="T56" fmla="*/ 1116 w 1879"/>
                <a:gd name="T57" fmla="*/ 1091 h 1291"/>
                <a:gd name="T58" fmla="*/ 1668 w 1879"/>
                <a:gd name="T59" fmla="*/ 1020 h 1291"/>
                <a:gd name="T60" fmla="*/ 1565 w 1879"/>
                <a:gd name="T61" fmla="*/ 1091 h 1291"/>
                <a:gd name="T62" fmla="*/ 1578 w 1879"/>
                <a:gd name="T63" fmla="*/ 1047 h 1291"/>
                <a:gd name="T64" fmla="*/ 1829 w 1879"/>
                <a:gd name="T65" fmla="*/ 183 h 1291"/>
                <a:gd name="T66" fmla="*/ 1781 w 1879"/>
                <a:gd name="T67" fmla="*/ 122 h 1291"/>
                <a:gd name="T68" fmla="*/ 296 w 1879"/>
                <a:gd name="T69" fmla="*/ 140 h 1291"/>
                <a:gd name="T70" fmla="*/ 453 w 1879"/>
                <a:gd name="T71" fmla="*/ 1007 h 1291"/>
                <a:gd name="T72" fmla="*/ 515 w 1879"/>
                <a:gd name="T73" fmla="*/ 1047 h 1291"/>
                <a:gd name="T74" fmla="*/ 501 w 1879"/>
                <a:gd name="T75" fmla="*/ 1091 h 1291"/>
                <a:gd name="T76" fmla="*/ 243 w 1879"/>
                <a:gd name="T77" fmla="*/ 190 h 1291"/>
                <a:gd name="T78" fmla="*/ 334 w 1879"/>
                <a:gd name="T79" fmla="*/ 78 h 1291"/>
                <a:gd name="T80" fmla="*/ 1855 w 1879"/>
                <a:gd name="T81" fmla="*/ 114 h 1291"/>
                <a:gd name="T82" fmla="*/ 1341 w 1879"/>
                <a:gd name="T83" fmla="*/ 1291 h 1291"/>
                <a:gd name="T84" fmla="*/ 1341 w 1879"/>
                <a:gd name="T85" fmla="*/ 928 h 1291"/>
                <a:gd name="T86" fmla="*/ 1341 w 1879"/>
                <a:gd name="T87" fmla="*/ 1291 h 1291"/>
                <a:gd name="T88" fmla="*/ 1203 w 1879"/>
                <a:gd name="T89" fmla="*/ 1110 h 1291"/>
                <a:gd name="T90" fmla="*/ 1478 w 1879"/>
                <a:gd name="T91" fmla="*/ 1110 h 1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79" h="1291">
                  <a:moveTo>
                    <a:pt x="596" y="845"/>
                  </a:moveTo>
                  <a:cubicBezTo>
                    <a:pt x="608" y="844"/>
                    <a:pt x="616" y="833"/>
                    <a:pt x="615" y="821"/>
                  </a:cubicBezTo>
                  <a:cubicBezTo>
                    <a:pt x="550" y="295"/>
                    <a:pt x="550" y="295"/>
                    <a:pt x="550" y="295"/>
                  </a:cubicBezTo>
                  <a:cubicBezTo>
                    <a:pt x="549" y="283"/>
                    <a:pt x="538" y="275"/>
                    <a:pt x="526" y="276"/>
                  </a:cubicBezTo>
                  <a:cubicBezTo>
                    <a:pt x="514" y="278"/>
                    <a:pt x="505" y="289"/>
                    <a:pt x="507" y="301"/>
                  </a:cubicBezTo>
                  <a:cubicBezTo>
                    <a:pt x="571" y="826"/>
                    <a:pt x="571" y="826"/>
                    <a:pt x="571" y="826"/>
                  </a:cubicBezTo>
                  <a:cubicBezTo>
                    <a:pt x="573" y="837"/>
                    <a:pt x="582" y="845"/>
                    <a:pt x="593" y="845"/>
                  </a:cubicBezTo>
                  <a:cubicBezTo>
                    <a:pt x="594" y="845"/>
                    <a:pt x="595" y="845"/>
                    <a:pt x="596" y="845"/>
                  </a:cubicBezTo>
                  <a:close/>
                  <a:moveTo>
                    <a:pt x="896" y="845"/>
                  </a:moveTo>
                  <a:cubicBezTo>
                    <a:pt x="908" y="845"/>
                    <a:pt x="918" y="835"/>
                    <a:pt x="917" y="823"/>
                  </a:cubicBezTo>
                  <a:cubicBezTo>
                    <a:pt x="898" y="297"/>
                    <a:pt x="898" y="297"/>
                    <a:pt x="898" y="297"/>
                  </a:cubicBezTo>
                  <a:cubicBezTo>
                    <a:pt x="897" y="285"/>
                    <a:pt x="887" y="275"/>
                    <a:pt x="875" y="276"/>
                  </a:cubicBezTo>
                  <a:cubicBezTo>
                    <a:pt x="863" y="276"/>
                    <a:pt x="853" y="287"/>
                    <a:pt x="854" y="299"/>
                  </a:cubicBezTo>
                  <a:cubicBezTo>
                    <a:pt x="873" y="824"/>
                    <a:pt x="873" y="824"/>
                    <a:pt x="873" y="824"/>
                  </a:cubicBezTo>
                  <a:cubicBezTo>
                    <a:pt x="874" y="836"/>
                    <a:pt x="884" y="845"/>
                    <a:pt x="895" y="845"/>
                  </a:cubicBezTo>
                  <a:cubicBezTo>
                    <a:pt x="896" y="845"/>
                    <a:pt x="896" y="845"/>
                    <a:pt x="896" y="845"/>
                  </a:cubicBezTo>
                  <a:close/>
                  <a:moveTo>
                    <a:pt x="1219" y="824"/>
                  </a:moveTo>
                  <a:cubicBezTo>
                    <a:pt x="1245" y="299"/>
                    <a:pt x="1245" y="299"/>
                    <a:pt x="1245" y="299"/>
                  </a:cubicBezTo>
                  <a:cubicBezTo>
                    <a:pt x="1246" y="287"/>
                    <a:pt x="1237" y="277"/>
                    <a:pt x="1224" y="276"/>
                  </a:cubicBezTo>
                  <a:cubicBezTo>
                    <a:pt x="1212" y="275"/>
                    <a:pt x="1202" y="285"/>
                    <a:pt x="1201" y="297"/>
                  </a:cubicBezTo>
                  <a:cubicBezTo>
                    <a:pt x="1176" y="822"/>
                    <a:pt x="1176" y="822"/>
                    <a:pt x="1176" y="822"/>
                  </a:cubicBezTo>
                  <a:cubicBezTo>
                    <a:pt x="1175" y="834"/>
                    <a:pt x="1184" y="845"/>
                    <a:pt x="1196" y="845"/>
                  </a:cubicBezTo>
                  <a:cubicBezTo>
                    <a:pt x="1197" y="845"/>
                    <a:pt x="1197" y="845"/>
                    <a:pt x="1198" y="845"/>
                  </a:cubicBezTo>
                  <a:cubicBezTo>
                    <a:pt x="1209" y="845"/>
                    <a:pt x="1219" y="836"/>
                    <a:pt x="1219" y="824"/>
                  </a:cubicBezTo>
                  <a:close/>
                  <a:moveTo>
                    <a:pt x="1521" y="826"/>
                  </a:moveTo>
                  <a:cubicBezTo>
                    <a:pt x="1593" y="301"/>
                    <a:pt x="1593" y="301"/>
                    <a:pt x="1593" y="301"/>
                  </a:cubicBezTo>
                  <a:cubicBezTo>
                    <a:pt x="1594" y="289"/>
                    <a:pt x="1586" y="278"/>
                    <a:pt x="1574" y="276"/>
                  </a:cubicBezTo>
                  <a:cubicBezTo>
                    <a:pt x="1562" y="275"/>
                    <a:pt x="1551" y="283"/>
                    <a:pt x="1549" y="295"/>
                  </a:cubicBezTo>
                  <a:cubicBezTo>
                    <a:pt x="1478" y="820"/>
                    <a:pt x="1478" y="820"/>
                    <a:pt x="1478" y="820"/>
                  </a:cubicBezTo>
                  <a:cubicBezTo>
                    <a:pt x="1476" y="832"/>
                    <a:pt x="1485" y="844"/>
                    <a:pt x="1497" y="845"/>
                  </a:cubicBezTo>
                  <a:cubicBezTo>
                    <a:pt x="1498" y="845"/>
                    <a:pt x="1499" y="845"/>
                    <a:pt x="1500" y="845"/>
                  </a:cubicBezTo>
                  <a:cubicBezTo>
                    <a:pt x="1511" y="845"/>
                    <a:pt x="1520" y="837"/>
                    <a:pt x="1521" y="826"/>
                  </a:cubicBezTo>
                  <a:close/>
                  <a:moveTo>
                    <a:pt x="244" y="415"/>
                  </a:moveTo>
                  <a:cubicBezTo>
                    <a:pt x="152" y="439"/>
                    <a:pt x="152" y="439"/>
                    <a:pt x="152" y="43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3" y="7"/>
                    <a:pt x="31" y="0"/>
                    <a:pt x="19" y="3"/>
                  </a:cubicBezTo>
                  <a:cubicBezTo>
                    <a:pt x="7" y="6"/>
                    <a:pt x="0" y="18"/>
                    <a:pt x="3" y="30"/>
                  </a:cubicBezTo>
                  <a:cubicBezTo>
                    <a:pt x="115" y="472"/>
                    <a:pt x="115" y="472"/>
                    <a:pt x="115" y="472"/>
                  </a:cubicBezTo>
                  <a:cubicBezTo>
                    <a:pt x="116" y="477"/>
                    <a:pt x="120" y="482"/>
                    <a:pt x="125" y="485"/>
                  </a:cubicBezTo>
                  <a:cubicBezTo>
                    <a:pt x="128" y="487"/>
                    <a:pt x="132" y="488"/>
                    <a:pt x="136" y="488"/>
                  </a:cubicBezTo>
                  <a:cubicBezTo>
                    <a:pt x="138" y="488"/>
                    <a:pt x="140" y="488"/>
                    <a:pt x="142" y="487"/>
                  </a:cubicBezTo>
                  <a:cubicBezTo>
                    <a:pt x="253" y="459"/>
                    <a:pt x="253" y="459"/>
                    <a:pt x="253" y="459"/>
                  </a:cubicBezTo>
                  <a:lnTo>
                    <a:pt x="244" y="415"/>
                  </a:lnTo>
                  <a:close/>
                  <a:moveTo>
                    <a:pt x="732" y="1291"/>
                  </a:moveTo>
                  <a:cubicBezTo>
                    <a:pt x="631" y="1291"/>
                    <a:pt x="550" y="1210"/>
                    <a:pt x="550" y="1110"/>
                  </a:cubicBezTo>
                  <a:cubicBezTo>
                    <a:pt x="550" y="1009"/>
                    <a:pt x="631" y="928"/>
                    <a:pt x="732" y="928"/>
                  </a:cubicBezTo>
                  <a:cubicBezTo>
                    <a:pt x="832" y="928"/>
                    <a:pt x="913" y="1009"/>
                    <a:pt x="913" y="1110"/>
                  </a:cubicBezTo>
                  <a:cubicBezTo>
                    <a:pt x="913" y="1210"/>
                    <a:pt x="832" y="1291"/>
                    <a:pt x="732" y="1291"/>
                  </a:cubicBezTo>
                  <a:close/>
                  <a:moveTo>
                    <a:pt x="732" y="972"/>
                  </a:moveTo>
                  <a:cubicBezTo>
                    <a:pt x="656" y="972"/>
                    <a:pt x="594" y="1034"/>
                    <a:pt x="594" y="1110"/>
                  </a:cubicBezTo>
                  <a:cubicBezTo>
                    <a:pt x="594" y="1186"/>
                    <a:pt x="656" y="1247"/>
                    <a:pt x="732" y="1247"/>
                  </a:cubicBezTo>
                  <a:cubicBezTo>
                    <a:pt x="808" y="1247"/>
                    <a:pt x="869" y="1186"/>
                    <a:pt x="869" y="1110"/>
                  </a:cubicBezTo>
                  <a:cubicBezTo>
                    <a:pt x="869" y="1034"/>
                    <a:pt x="808" y="972"/>
                    <a:pt x="732" y="972"/>
                  </a:cubicBezTo>
                  <a:close/>
                  <a:moveTo>
                    <a:pt x="1116" y="1091"/>
                  </a:moveTo>
                  <a:cubicBezTo>
                    <a:pt x="956" y="1091"/>
                    <a:pt x="956" y="1091"/>
                    <a:pt x="956" y="1091"/>
                  </a:cubicBezTo>
                  <a:cubicBezTo>
                    <a:pt x="955" y="1076"/>
                    <a:pt x="952" y="1061"/>
                    <a:pt x="948" y="1047"/>
                  </a:cubicBezTo>
                  <a:cubicBezTo>
                    <a:pt x="1124" y="1047"/>
                    <a:pt x="1124" y="1047"/>
                    <a:pt x="1124" y="1047"/>
                  </a:cubicBezTo>
                  <a:cubicBezTo>
                    <a:pt x="1120" y="1061"/>
                    <a:pt x="1117" y="1076"/>
                    <a:pt x="1116" y="1091"/>
                  </a:cubicBezTo>
                  <a:close/>
                  <a:moveTo>
                    <a:pt x="1872" y="194"/>
                  </a:moveTo>
                  <a:cubicBezTo>
                    <a:pt x="1668" y="1020"/>
                    <a:pt x="1668" y="1020"/>
                    <a:pt x="1668" y="1020"/>
                  </a:cubicBezTo>
                  <a:cubicBezTo>
                    <a:pt x="1658" y="1062"/>
                    <a:pt x="1621" y="1091"/>
                    <a:pt x="1578" y="1091"/>
                  </a:cubicBezTo>
                  <a:cubicBezTo>
                    <a:pt x="1565" y="1091"/>
                    <a:pt x="1565" y="1091"/>
                    <a:pt x="1565" y="1091"/>
                  </a:cubicBezTo>
                  <a:cubicBezTo>
                    <a:pt x="1564" y="1076"/>
                    <a:pt x="1561" y="1061"/>
                    <a:pt x="1557" y="1047"/>
                  </a:cubicBezTo>
                  <a:cubicBezTo>
                    <a:pt x="1578" y="1047"/>
                    <a:pt x="1578" y="1047"/>
                    <a:pt x="1578" y="1047"/>
                  </a:cubicBezTo>
                  <a:cubicBezTo>
                    <a:pt x="1600" y="1047"/>
                    <a:pt x="1620" y="1031"/>
                    <a:pt x="1625" y="1009"/>
                  </a:cubicBezTo>
                  <a:cubicBezTo>
                    <a:pt x="1829" y="183"/>
                    <a:pt x="1829" y="183"/>
                    <a:pt x="1829" y="183"/>
                  </a:cubicBezTo>
                  <a:cubicBezTo>
                    <a:pt x="1833" y="168"/>
                    <a:pt x="1829" y="153"/>
                    <a:pt x="1820" y="141"/>
                  </a:cubicBezTo>
                  <a:cubicBezTo>
                    <a:pt x="1811" y="129"/>
                    <a:pt x="1797" y="122"/>
                    <a:pt x="1781" y="122"/>
                  </a:cubicBezTo>
                  <a:cubicBezTo>
                    <a:pt x="334" y="122"/>
                    <a:pt x="334" y="122"/>
                    <a:pt x="334" y="122"/>
                  </a:cubicBezTo>
                  <a:cubicBezTo>
                    <a:pt x="320" y="122"/>
                    <a:pt x="306" y="129"/>
                    <a:pt x="296" y="140"/>
                  </a:cubicBezTo>
                  <a:cubicBezTo>
                    <a:pt x="287" y="152"/>
                    <a:pt x="283" y="167"/>
                    <a:pt x="286" y="181"/>
                  </a:cubicBezTo>
                  <a:cubicBezTo>
                    <a:pt x="453" y="1007"/>
                    <a:pt x="453" y="1007"/>
                    <a:pt x="453" y="1007"/>
                  </a:cubicBezTo>
                  <a:cubicBezTo>
                    <a:pt x="458" y="1030"/>
                    <a:pt x="478" y="1047"/>
                    <a:pt x="501" y="1047"/>
                  </a:cubicBezTo>
                  <a:cubicBezTo>
                    <a:pt x="515" y="1047"/>
                    <a:pt x="515" y="1047"/>
                    <a:pt x="515" y="1047"/>
                  </a:cubicBezTo>
                  <a:cubicBezTo>
                    <a:pt x="511" y="1061"/>
                    <a:pt x="508" y="1076"/>
                    <a:pt x="507" y="1091"/>
                  </a:cubicBezTo>
                  <a:cubicBezTo>
                    <a:pt x="501" y="1091"/>
                    <a:pt x="501" y="1091"/>
                    <a:pt x="501" y="1091"/>
                  </a:cubicBezTo>
                  <a:cubicBezTo>
                    <a:pt x="457" y="1091"/>
                    <a:pt x="419" y="1059"/>
                    <a:pt x="410" y="1016"/>
                  </a:cubicBezTo>
                  <a:cubicBezTo>
                    <a:pt x="243" y="190"/>
                    <a:pt x="243" y="190"/>
                    <a:pt x="243" y="190"/>
                  </a:cubicBezTo>
                  <a:cubicBezTo>
                    <a:pt x="238" y="162"/>
                    <a:pt x="245" y="134"/>
                    <a:pt x="262" y="112"/>
                  </a:cubicBezTo>
                  <a:cubicBezTo>
                    <a:pt x="280" y="91"/>
                    <a:pt x="306" y="78"/>
                    <a:pt x="334" y="78"/>
                  </a:cubicBezTo>
                  <a:cubicBezTo>
                    <a:pt x="1781" y="78"/>
                    <a:pt x="1781" y="78"/>
                    <a:pt x="1781" y="78"/>
                  </a:cubicBezTo>
                  <a:cubicBezTo>
                    <a:pt x="1810" y="78"/>
                    <a:pt x="1837" y="91"/>
                    <a:pt x="1855" y="114"/>
                  </a:cubicBezTo>
                  <a:cubicBezTo>
                    <a:pt x="1872" y="137"/>
                    <a:pt x="1879" y="166"/>
                    <a:pt x="1872" y="194"/>
                  </a:cubicBezTo>
                  <a:close/>
                  <a:moveTo>
                    <a:pt x="1341" y="1291"/>
                  </a:moveTo>
                  <a:cubicBezTo>
                    <a:pt x="1240" y="1291"/>
                    <a:pt x="1159" y="1210"/>
                    <a:pt x="1159" y="1110"/>
                  </a:cubicBezTo>
                  <a:cubicBezTo>
                    <a:pt x="1159" y="1009"/>
                    <a:pt x="1240" y="928"/>
                    <a:pt x="1341" y="928"/>
                  </a:cubicBezTo>
                  <a:cubicBezTo>
                    <a:pt x="1441" y="928"/>
                    <a:pt x="1522" y="1009"/>
                    <a:pt x="1522" y="1110"/>
                  </a:cubicBezTo>
                  <a:cubicBezTo>
                    <a:pt x="1522" y="1210"/>
                    <a:pt x="1441" y="1291"/>
                    <a:pt x="1341" y="1291"/>
                  </a:cubicBezTo>
                  <a:close/>
                  <a:moveTo>
                    <a:pt x="1341" y="972"/>
                  </a:moveTo>
                  <a:cubicBezTo>
                    <a:pt x="1265" y="972"/>
                    <a:pt x="1203" y="1034"/>
                    <a:pt x="1203" y="1110"/>
                  </a:cubicBezTo>
                  <a:cubicBezTo>
                    <a:pt x="1203" y="1186"/>
                    <a:pt x="1265" y="1247"/>
                    <a:pt x="1341" y="1247"/>
                  </a:cubicBezTo>
                  <a:cubicBezTo>
                    <a:pt x="1416" y="1247"/>
                    <a:pt x="1478" y="1186"/>
                    <a:pt x="1478" y="1110"/>
                  </a:cubicBezTo>
                  <a:cubicBezTo>
                    <a:pt x="1478" y="1034"/>
                    <a:pt x="1416" y="972"/>
                    <a:pt x="1341" y="97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14214899-2114-2976-5182-231AC6A10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6" y="553"/>
              <a:ext cx="2714" cy="2957"/>
            </a:xfrm>
            <a:custGeom>
              <a:avLst/>
              <a:gdLst>
                <a:gd name="T0" fmla="*/ 0 w 1449"/>
                <a:gd name="T1" fmla="*/ 408 h 1577"/>
                <a:gd name="T2" fmla="*/ 136 w 1449"/>
                <a:gd name="T3" fmla="*/ 282 h 1577"/>
                <a:gd name="T4" fmla="*/ 139 w 1449"/>
                <a:gd name="T5" fmla="*/ 282 h 1577"/>
                <a:gd name="T6" fmla="*/ 272 w 1449"/>
                <a:gd name="T7" fmla="*/ 176 h 1577"/>
                <a:gd name="T8" fmla="*/ 273 w 1449"/>
                <a:gd name="T9" fmla="*/ 176 h 1577"/>
                <a:gd name="T10" fmla="*/ 408 w 1449"/>
                <a:gd name="T11" fmla="*/ 60 h 1577"/>
                <a:gd name="T12" fmla="*/ 508 w 1449"/>
                <a:gd name="T13" fmla="*/ 105 h 1577"/>
                <a:gd name="T14" fmla="*/ 579 w 1449"/>
                <a:gd name="T15" fmla="*/ 85 h 1577"/>
                <a:gd name="T16" fmla="*/ 622 w 1449"/>
                <a:gd name="T17" fmla="*/ 92 h 1577"/>
                <a:gd name="T18" fmla="*/ 751 w 1449"/>
                <a:gd name="T19" fmla="*/ 0 h 1577"/>
                <a:gd name="T20" fmla="*/ 866 w 1449"/>
                <a:gd name="T21" fmla="*/ 64 h 1577"/>
                <a:gd name="T22" fmla="*/ 899 w 1449"/>
                <a:gd name="T23" fmla="*/ 60 h 1577"/>
                <a:gd name="T24" fmla="*/ 1009 w 1449"/>
                <a:gd name="T25" fmla="*/ 118 h 1577"/>
                <a:gd name="T26" fmla="*/ 1064 w 1449"/>
                <a:gd name="T27" fmla="*/ 106 h 1577"/>
                <a:gd name="T28" fmla="*/ 1188 w 1449"/>
                <a:gd name="T29" fmla="*/ 188 h 1577"/>
                <a:gd name="T30" fmla="*/ 1210 w 1449"/>
                <a:gd name="T31" fmla="*/ 186 h 1577"/>
                <a:gd name="T32" fmla="*/ 1345 w 1449"/>
                <a:gd name="T33" fmla="*/ 315 h 1577"/>
                <a:gd name="T34" fmla="*/ 1449 w 1449"/>
                <a:gd name="T35" fmla="*/ 409 h 1577"/>
                <a:gd name="T36" fmla="*/ 1434 w 1449"/>
                <a:gd name="T37" fmla="*/ 408 h 1577"/>
                <a:gd name="T38" fmla="*/ 0 w 1449"/>
                <a:gd name="T39" fmla="*/ 408 h 1577"/>
                <a:gd name="T40" fmla="*/ 478 w 1449"/>
                <a:gd name="T41" fmla="*/ 1484 h 1577"/>
                <a:gd name="T42" fmla="*/ 385 w 1449"/>
                <a:gd name="T43" fmla="*/ 1390 h 1577"/>
                <a:gd name="T44" fmla="*/ 291 w 1449"/>
                <a:gd name="T45" fmla="*/ 1484 h 1577"/>
                <a:gd name="T46" fmla="*/ 385 w 1449"/>
                <a:gd name="T47" fmla="*/ 1577 h 1577"/>
                <a:gd name="T48" fmla="*/ 478 w 1449"/>
                <a:gd name="T49" fmla="*/ 1484 h 1577"/>
                <a:gd name="T50" fmla="*/ 1087 w 1449"/>
                <a:gd name="T51" fmla="*/ 1484 h 1577"/>
                <a:gd name="T52" fmla="*/ 994 w 1449"/>
                <a:gd name="T53" fmla="*/ 1390 h 1577"/>
                <a:gd name="T54" fmla="*/ 900 w 1449"/>
                <a:gd name="T55" fmla="*/ 1484 h 1577"/>
                <a:gd name="T56" fmla="*/ 994 w 1449"/>
                <a:gd name="T57" fmla="*/ 1577 h 1577"/>
                <a:gd name="T58" fmla="*/ 1087 w 1449"/>
                <a:gd name="T59" fmla="*/ 1484 h 1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49" h="1577">
                  <a:moveTo>
                    <a:pt x="0" y="408"/>
                  </a:moveTo>
                  <a:cubicBezTo>
                    <a:pt x="5" y="338"/>
                    <a:pt x="64" y="282"/>
                    <a:pt x="136" y="282"/>
                  </a:cubicBezTo>
                  <a:cubicBezTo>
                    <a:pt x="137" y="282"/>
                    <a:pt x="138" y="282"/>
                    <a:pt x="139" y="282"/>
                  </a:cubicBezTo>
                  <a:cubicBezTo>
                    <a:pt x="153" y="222"/>
                    <a:pt x="207" y="176"/>
                    <a:pt x="272" y="176"/>
                  </a:cubicBezTo>
                  <a:cubicBezTo>
                    <a:pt x="272" y="176"/>
                    <a:pt x="273" y="176"/>
                    <a:pt x="273" y="176"/>
                  </a:cubicBezTo>
                  <a:cubicBezTo>
                    <a:pt x="283" y="111"/>
                    <a:pt x="339" y="60"/>
                    <a:pt x="408" y="60"/>
                  </a:cubicBezTo>
                  <a:cubicBezTo>
                    <a:pt x="448" y="60"/>
                    <a:pt x="484" y="78"/>
                    <a:pt x="508" y="105"/>
                  </a:cubicBezTo>
                  <a:cubicBezTo>
                    <a:pt x="529" y="93"/>
                    <a:pt x="553" y="85"/>
                    <a:pt x="579" y="85"/>
                  </a:cubicBezTo>
                  <a:cubicBezTo>
                    <a:pt x="594" y="85"/>
                    <a:pt x="609" y="88"/>
                    <a:pt x="622" y="92"/>
                  </a:cubicBezTo>
                  <a:cubicBezTo>
                    <a:pt x="641" y="39"/>
                    <a:pt x="691" y="0"/>
                    <a:pt x="751" y="0"/>
                  </a:cubicBezTo>
                  <a:cubicBezTo>
                    <a:pt x="800" y="0"/>
                    <a:pt x="842" y="26"/>
                    <a:pt x="866" y="64"/>
                  </a:cubicBezTo>
                  <a:cubicBezTo>
                    <a:pt x="877" y="62"/>
                    <a:pt x="888" y="60"/>
                    <a:pt x="899" y="60"/>
                  </a:cubicBezTo>
                  <a:cubicBezTo>
                    <a:pt x="944" y="60"/>
                    <a:pt x="985" y="83"/>
                    <a:pt x="1009" y="118"/>
                  </a:cubicBezTo>
                  <a:cubicBezTo>
                    <a:pt x="1026" y="110"/>
                    <a:pt x="1044" y="106"/>
                    <a:pt x="1064" y="106"/>
                  </a:cubicBezTo>
                  <a:cubicBezTo>
                    <a:pt x="1119" y="106"/>
                    <a:pt x="1167" y="140"/>
                    <a:pt x="1188" y="188"/>
                  </a:cubicBezTo>
                  <a:cubicBezTo>
                    <a:pt x="1195" y="187"/>
                    <a:pt x="1202" y="186"/>
                    <a:pt x="1210" y="186"/>
                  </a:cubicBezTo>
                  <a:cubicBezTo>
                    <a:pt x="1282" y="186"/>
                    <a:pt x="1342" y="243"/>
                    <a:pt x="1345" y="315"/>
                  </a:cubicBezTo>
                  <a:cubicBezTo>
                    <a:pt x="1395" y="325"/>
                    <a:pt x="1434" y="362"/>
                    <a:pt x="1449" y="409"/>
                  </a:cubicBezTo>
                  <a:cubicBezTo>
                    <a:pt x="1444" y="409"/>
                    <a:pt x="1439" y="408"/>
                    <a:pt x="1434" y="408"/>
                  </a:cubicBezTo>
                  <a:lnTo>
                    <a:pt x="0" y="408"/>
                  </a:lnTo>
                  <a:close/>
                  <a:moveTo>
                    <a:pt x="478" y="1484"/>
                  </a:moveTo>
                  <a:cubicBezTo>
                    <a:pt x="478" y="1432"/>
                    <a:pt x="436" y="1390"/>
                    <a:pt x="385" y="1390"/>
                  </a:cubicBezTo>
                  <a:cubicBezTo>
                    <a:pt x="333" y="1390"/>
                    <a:pt x="291" y="1432"/>
                    <a:pt x="291" y="1484"/>
                  </a:cubicBezTo>
                  <a:cubicBezTo>
                    <a:pt x="291" y="1535"/>
                    <a:pt x="333" y="1577"/>
                    <a:pt x="385" y="1577"/>
                  </a:cubicBezTo>
                  <a:cubicBezTo>
                    <a:pt x="436" y="1577"/>
                    <a:pt x="478" y="1535"/>
                    <a:pt x="478" y="1484"/>
                  </a:cubicBezTo>
                  <a:close/>
                  <a:moveTo>
                    <a:pt x="1087" y="1484"/>
                  </a:moveTo>
                  <a:cubicBezTo>
                    <a:pt x="1087" y="1432"/>
                    <a:pt x="1045" y="1390"/>
                    <a:pt x="994" y="1390"/>
                  </a:cubicBezTo>
                  <a:cubicBezTo>
                    <a:pt x="942" y="1390"/>
                    <a:pt x="900" y="1432"/>
                    <a:pt x="900" y="1484"/>
                  </a:cubicBezTo>
                  <a:cubicBezTo>
                    <a:pt x="900" y="1535"/>
                    <a:pt x="942" y="1577"/>
                    <a:pt x="994" y="1577"/>
                  </a:cubicBezTo>
                  <a:cubicBezTo>
                    <a:pt x="1045" y="1577"/>
                    <a:pt x="1087" y="1535"/>
                    <a:pt x="1087" y="148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C16D50E4-99B9-4751-14A8-FD4A5465642D}"/>
              </a:ext>
            </a:extLst>
          </p:cNvPr>
          <p:cNvSpPr/>
          <p:nvPr/>
        </p:nvSpPr>
        <p:spPr>
          <a:xfrm>
            <a:off x="7306385" y="1242314"/>
            <a:ext cx="3312969" cy="31065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Urban min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6F9D4D-2322-49DD-63D8-83AD42855DEF}"/>
              </a:ext>
            </a:extLst>
          </p:cNvPr>
          <p:cNvSpPr/>
          <p:nvPr/>
        </p:nvSpPr>
        <p:spPr>
          <a:xfrm>
            <a:off x="3449405" y="1242314"/>
            <a:ext cx="3088436" cy="31065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chemeClr val="tx2"/>
                </a:solidFill>
              </a:rPr>
              <a:t>Material reduction</a:t>
            </a:r>
          </a:p>
        </p:txBody>
      </p:sp>
      <p:sp>
        <p:nvSpPr>
          <p:cNvPr id="23" name="Speech Bubble: Rectangle 22">
            <a:extLst>
              <a:ext uri="{FF2B5EF4-FFF2-40B4-BE49-F238E27FC236}">
                <a16:creationId xmlns:a16="http://schemas.microsoft.com/office/drawing/2014/main" id="{85D2F6C9-AFDD-C402-AC04-F018F60EE4EC}"/>
              </a:ext>
            </a:extLst>
          </p:cNvPr>
          <p:cNvSpPr/>
          <p:nvPr/>
        </p:nvSpPr>
        <p:spPr>
          <a:xfrm>
            <a:off x="9858133" y="2578027"/>
            <a:ext cx="1849933" cy="530693"/>
          </a:xfrm>
          <a:prstGeom prst="wedgeRectCallout">
            <a:avLst>
              <a:gd name="adj1" fmla="val -35391"/>
              <a:gd name="adj2" fmla="val 8432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 err="1"/>
              <a:t>But</a:t>
            </a:r>
            <a:r>
              <a:rPr lang="es-ES" sz="1400" dirty="0"/>
              <a:t>! </a:t>
            </a:r>
            <a:r>
              <a:rPr lang="es-ES" sz="1400" b="1" dirty="0" err="1"/>
              <a:t>Systemic</a:t>
            </a:r>
            <a:r>
              <a:rPr lang="es-ES" sz="1400" b="1" dirty="0"/>
              <a:t> </a:t>
            </a:r>
            <a:r>
              <a:rPr lang="es-ES" sz="1400" b="1" dirty="0" err="1"/>
              <a:t>leakage</a:t>
            </a:r>
            <a:endParaRPr lang="en-US" sz="1400" b="1" dirty="0"/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5204FC1F-85EB-5B33-6417-34071C8791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148" y="2803471"/>
            <a:ext cx="1261734" cy="1750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793A5EB-8E5A-A74F-B887-90D17E434A04}"/>
              </a:ext>
            </a:extLst>
          </p:cNvPr>
          <p:cNvSpPr/>
          <p:nvPr/>
        </p:nvSpPr>
        <p:spPr>
          <a:xfrm>
            <a:off x="3907269" y="4729811"/>
            <a:ext cx="2796791" cy="35400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sz="1600" dirty="0">
                <a:solidFill>
                  <a:schemeClr val="tx1"/>
                </a:solidFill>
              </a:rPr>
              <a:t>Jevons’ </a:t>
            </a:r>
            <a:r>
              <a:rPr lang="es-ES" sz="1600" dirty="0" err="1">
                <a:solidFill>
                  <a:schemeClr val="tx1"/>
                </a:solidFill>
              </a:rPr>
              <a:t>paradox</a:t>
            </a:r>
            <a:r>
              <a:rPr lang="es-ES" sz="1600" dirty="0">
                <a:solidFill>
                  <a:schemeClr val="tx1"/>
                </a:solidFill>
              </a:rPr>
              <a:t> (1865)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2C8A880-7788-8456-8165-4CC1FD64EE61}"/>
              </a:ext>
            </a:extLst>
          </p:cNvPr>
          <p:cNvCxnSpPr/>
          <p:nvPr/>
        </p:nvCxnSpPr>
        <p:spPr>
          <a:xfrm>
            <a:off x="857461" y="5614732"/>
            <a:ext cx="10657599" cy="0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">
            <a:extLst>
              <a:ext uri="{FF2B5EF4-FFF2-40B4-BE49-F238E27FC236}">
                <a16:creationId xmlns:a16="http://schemas.microsoft.com/office/drawing/2014/main" id="{CD5D9FA6-3B65-6635-B60F-F8B9AC9A01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3808" y="3446992"/>
            <a:ext cx="628944" cy="823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4652C13B-89E6-513A-2AC0-517C20DEE955}"/>
              </a:ext>
            </a:extLst>
          </p:cNvPr>
          <p:cNvCxnSpPr>
            <a:cxnSpLocks/>
          </p:cNvCxnSpPr>
          <p:nvPr/>
        </p:nvCxnSpPr>
        <p:spPr>
          <a:xfrm>
            <a:off x="9077184" y="2894822"/>
            <a:ext cx="0" cy="2129796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Dot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E70A6973-A923-3ECD-FC55-531054F0A11E}"/>
              </a:ext>
            </a:extLst>
          </p:cNvPr>
          <p:cNvSpPr/>
          <p:nvPr/>
        </p:nvSpPr>
        <p:spPr>
          <a:xfrm>
            <a:off x="857461" y="5591633"/>
            <a:ext cx="2332054" cy="96217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2"/>
                </a:solidFill>
              </a:rPr>
              <a:t>Maintain industry production and profitabilit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C20F644-159A-5764-15C3-274469F701B2}"/>
              </a:ext>
            </a:extLst>
          </p:cNvPr>
          <p:cNvSpPr/>
          <p:nvPr/>
        </p:nvSpPr>
        <p:spPr>
          <a:xfrm>
            <a:off x="9257322" y="5801370"/>
            <a:ext cx="1201622" cy="70174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Urban mining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18737C-45B5-415F-1B40-5EB7935EDFE7}"/>
              </a:ext>
            </a:extLst>
          </p:cNvPr>
          <p:cNvSpPr/>
          <p:nvPr/>
        </p:nvSpPr>
        <p:spPr>
          <a:xfrm>
            <a:off x="857461" y="1638395"/>
            <a:ext cx="2332054" cy="939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tx2"/>
                </a:solidFill>
              </a:rPr>
              <a:t>Maximize clean energy gener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7FF4B6F-07EA-3ED7-275F-2713C858D495}"/>
              </a:ext>
            </a:extLst>
          </p:cNvPr>
          <p:cNvCxnSpPr/>
          <p:nvPr/>
        </p:nvCxnSpPr>
        <p:spPr>
          <a:xfrm>
            <a:off x="857461" y="1638395"/>
            <a:ext cx="10657599" cy="0"/>
          </a:xfrm>
          <a:prstGeom prst="line">
            <a:avLst/>
          </a:prstGeom>
          <a:ln>
            <a:prstDash val="lg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49BEF57-4A80-FAB6-03E1-4FD3F6752384}"/>
              </a:ext>
            </a:extLst>
          </p:cNvPr>
          <p:cNvSpPr txBox="1"/>
          <p:nvPr/>
        </p:nvSpPr>
        <p:spPr>
          <a:xfrm>
            <a:off x="3511749" y="1873796"/>
            <a:ext cx="37946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Material Reduction ≿    Benchmark </a:t>
            </a:r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BA57390-7C19-D05E-34AC-4866B8619A71}"/>
              </a:ext>
            </a:extLst>
          </p:cNvPr>
          <p:cNvSpPr txBox="1"/>
          <p:nvPr/>
        </p:nvSpPr>
        <p:spPr>
          <a:xfrm>
            <a:off x="7628619" y="1873796"/>
            <a:ext cx="36560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Urban mining    ≿    Benchmark 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A88150A-90DC-9D5F-173D-96D456139D27}"/>
              </a:ext>
            </a:extLst>
          </p:cNvPr>
          <p:cNvSpPr/>
          <p:nvPr/>
        </p:nvSpPr>
        <p:spPr>
          <a:xfrm>
            <a:off x="6181054" y="5801370"/>
            <a:ext cx="1758485" cy="70174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Benchma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35F714-0F31-B52F-8BCA-76730B324BC8}"/>
              </a:ext>
            </a:extLst>
          </p:cNvPr>
          <p:cNvSpPr/>
          <p:nvPr/>
        </p:nvSpPr>
        <p:spPr>
          <a:xfrm>
            <a:off x="3366930" y="5801370"/>
            <a:ext cx="1496341" cy="70174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aterial Redu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1869C40-6915-2674-CCF1-6BD7B7F4E5CD}"/>
                  </a:ext>
                </a:extLst>
              </p:cNvPr>
              <p:cNvSpPr/>
              <p:nvPr/>
            </p:nvSpPr>
            <p:spPr>
              <a:xfrm>
                <a:off x="4642920" y="5801370"/>
                <a:ext cx="1758485" cy="70174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tx2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</m:oMath>
                  </m:oMathPara>
                </a14:m>
                <a:endParaRPr lang="en-US" sz="32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1869C40-6915-2674-CCF1-6BD7B7F4E5C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42920" y="5801370"/>
                <a:ext cx="1758485" cy="7017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B526E15-CF2C-892A-18FE-DE7E5A32402F}"/>
                  </a:ext>
                </a:extLst>
              </p:cNvPr>
              <p:cNvSpPr/>
              <p:nvPr/>
            </p:nvSpPr>
            <p:spPr>
              <a:xfrm>
                <a:off x="7719188" y="5801370"/>
                <a:ext cx="1758485" cy="701748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w="12700" cap="flat" cmpd="sng" algn="ctr">
                    <a:solidFill>
                      <a:schemeClr val="tx2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</m:oMath>
                  </m:oMathPara>
                </a14:m>
                <a:endParaRPr lang="en-US" sz="3200" b="1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2B526E15-CF2C-892A-18FE-DE7E5A32402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9188" y="5801370"/>
                <a:ext cx="1758485" cy="70174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tx2"/>
                    </a:solidFill>
                    <a:prstDash val="solid"/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24811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9" grpId="0" animBg="1"/>
      <p:bldP spid="20" grpId="0"/>
      <p:bldP spid="23" grpId="0" animBg="1"/>
      <p:bldP spid="25" grpId="0"/>
      <p:bldP spid="41" grpId="0"/>
      <p:bldP spid="42" grpId="0" animBg="1"/>
      <p:bldP spid="11" grpId="0"/>
      <p:bldP spid="27" grpId="0"/>
      <p:bldP spid="29" grpId="0"/>
      <p:bldP spid="6" grpId="0" animBg="1"/>
      <p:bldP spid="7" grpId="0" animBg="1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075852-6FFA-40D1-F3D5-1C7FD8E7FB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47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15C169-77EE-CA12-7458-1AB6D53E2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 dirty="0"/>
              <a:t>What should </a:t>
            </a:r>
            <a:r>
              <a:rPr lang="es-ES" dirty="0" err="1"/>
              <a:t>policymakers</a:t>
            </a:r>
            <a:r>
              <a:rPr lang="es-ES" dirty="0"/>
              <a:t> do?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E96BBC-BFEF-7099-E1AB-E80F63010C77}"/>
              </a:ext>
            </a:extLst>
          </p:cNvPr>
          <p:cNvSpPr/>
          <p:nvPr/>
        </p:nvSpPr>
        <p:spPr>
          <a:xfrm>
            <a:off x="6528540" y="5979961"/>
            <a:ext cx="1583108" cy="24842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s-ES" sz="1600" b="0" dirty="0" err="1">
                <a:solidFill>
                  <a:srgbClr val="000000"/>
                </a:solidFill>
                <a:effectLst/>
                <a:ea typeface="Cambria Math" panose="02040503050406030204" pitchFamily="18" charset="0"/>
              </a:rPr>
              <a:t>Scarcity</a:t>
            </a:r>
            <a:r>
              <a:rPr lang="es-ES" sz="1600" b="0" dirty="0">
                <a:solidFill>
                  <a:srgbClr val="000000"/>
                </a:solidFill>
                <a:effectLst/>
                <a:ea typeface="Cambria Math" panose="02040503050406030204" pitchFamily="18" charset="0"/>
              </a:rPr>
              <a:t> </a:t>
            </a:r>
            <a:r>
              <a:rPr lang="es-ES" sz="1600" b="0" dirty="0" err="1">
                <a:solidFill>
                  <a:srgbClr val="000000"/>
                </a:solidFill>
                <a:effectLst/>
                <a:ea typeface="Cambria Math" panose="02040503050406030204" pitchFamily="18" charset="0"/>
              </a:rPr>
              <a:t>level</a:t>
            </a:r>
            <a:endParaRPr lang="en-US" sz="1600" dirty="0">
              <a:effectLst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7A7E20E-3BB0-1625-E856-F6658DF5514D}"/>
              </a:ext>
            </a:extLst>
          </p:cNvPr>
          <p:cNvSpPr/>
          <p:nvPr/>
        </p:nvSpPr>
        <p:spPr>
          <a:xfrm rot="16200000">
            <a:off x="218703" y="3775869"/>
            <a:ext cx="1452335" cy="18394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r>
              <a:rPr lang="es-ES" sz="1600" b="0" dirty="0" err="1">
                <a:solidFill>
                  <a:srgbClr val="000000"/>
                </a:solidFill>
                <a:ea typeface="Cambria Math" panose="02040503050406030204" pitchFamily="18" charset="0"/>
              </a:rPr>
              <a:t>Systemic</a:t>
            </a:r>
            <a:r>
              <a:rPr lang="es-ES" sz="1600" b="0" dirty="0">
                <a:solidFill>
                  <a:srgbClr val="000000"/>
                </a:solidFill>
                <a:ea typeface="Cambria Math" panose="02040503050406030204" pitchFamily="18" charset="0"/>
              </a:rPr>
              <a:t>  </a:t>
            </a:r>
            <a:r>
              <a:rPr lang="es-ES" sz="1600" b="0" dirty="0" err="1">
                <a:solidFill>
                  <a:srgbClr val="000000"/>
                </a:solidFill>
                <a:ea typeface="Cambria Math" panose="02040503050406030204" pitchFamily="18" charset="0"/>
              </a:rPr>
              <a:t>leakage</a:t>
            </a:r>
            <a:endParaRPr lang="en-US" sz="16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188A5FD-8D92-DC3C-6849-8268E92B33B0}"/>
              </a:ext>
            </a:extLst>
          </p:cNvPr>
          <p:cNvSpPr/>
          <p:nvPr/>
        </p:nvSpPr>
        <p:spPr>
          <a:xfrm>
            <a:off x="1134064" y="1384500"/>
            <a:ext cx="6935653" cy="27948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b="0" i="0" dirty="0">
                <a:solidFill>
                  <a:schemeClr val="tx1"/>
                </a:solidFill>
              </a:rPr>
              <a:t>Producer strategy by scarcity and systemic leakage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ECA4265-58CA-AC17-D324-C6347D88915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</a:blip>
          <a:srcRect l="5456" t="9627" r="2566" b="6210"/>
          <a:stretch/>
        </p:blipFill>
        <p:spPr>
          <a:xfrm>
            <a:off x="1134064" y="1797200"/>
            <a:ext cx="6977585" cy="4148734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AC40E17-6DDD-882F-B25B-5A18216EC547}"/>
              </a:ext>
            </a:extLst>
          </p:cNvPr>
          <p:cNvSpPr/>
          <p:nvPr/>
        </p:nvSpPr>
        <p:spPr>
          <a:xfrm>
            <a:off x="1134064" y="1797200"/>
            <a:ext cx="3909292" cy="4134695"/>
          </a:xfrm>
          <a:custGeom>
            <a:avLst/>
            <a:gdLst>
              <a:gd name="connsiteX0" fmla="*/ 0 w 4616824"/>
              <a:gd name="connsiteY0" fmla="*/ 5280212 h 5280212"/>
              <a:gd name="connsiteX1" fmla="*/ 627530 w 4616824"/>
              <a:gd name="connsiteY1" fmla="*/ 5280212 h 5280212"/>
              <a:gd name="connsiteX2" fmla="*/ 609600 w 4616824"/>
              <a:gd name="connsiteY2" fmla="*/ 3065929 h 5280212"/>
              <a:gd name="connsiteX3" fmla="*/ 663388 w 4616824"/>
              <a:gd name="connsiteY3" fmla="*/ 2788023 h 5280212"/>
              <a:gd name="connsiteX4" fmla="*/ 887506 w 4616824"/>
              <a:gd name="connsiteY4" fmla="*/ 2483223 h 5280212"/>
              <a:gd name="connsiteX5" fmla="*/ 1344706 w 4616824"/>
              <a:gd name="connsiteY5" fmla="*/ 2196353 h 5280212"/>
              <a:gd name="connsiteX6" fmla="*/ 1900518 w 4616824"/>
              <a:gd name="connsiteY6" fmla="*/ 1963270 h 5280212"/>
              <a:gd name="connsiteX7" fmla="*/ 2617694 w 4616824"/>
              <a:gd name="connsiteY7" fmla="*/ 1792941 h 5280212"/>
              <a:gd name="connsiteX8" fmla="*/ 3469341 w 4616824"/>
              <a:gd name="connsiteY8" fmla="*/ 1748118 h 5280212"/>
              <a:gd name="connsiteX9" fmla="*/ 4007224 w 4616824"/>
              <a:gd name="connsiteY9" fmla="*/ 914400 h 5280212"/>
              <a:gd name="connsiteX10" fmla="*/ 4616824 w 4616824"/>
              <a:gd name="connsiteY10" fmla="*/ 0 h 5280212"/>
              <a:gd name="connsiteX11" fmla="*/ 8965 w 4616824"/>
              <a:gd name="connsiteY11" fmla="*/ 17929 h 5280212"/>
              <a:gd name="connsiteX12" fmla="*/ 0 w 4616824"/>
              <a:gd name="connsiteY12" fmla="*/ 5280212 h 5280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616824" h="5280212">
                <a:moveTo>
                  <a:pt x="0" y="5280212"/>
                </a:moveTo>
                <a:lnTo>
                  <a:pt x="627530" y="5280212"/>
                </a:lnTo>
                <a:lnTo>
                  <a:pt x="609600" y="3065929"/>
                </a:lnTo>
                <a:lnTo>
                  <a:pt x="663388" y="2788023"/>
                </a:lnTo>
                <a:lnTo>
                  <a:pt x="887506" y="2483223"/>
                </a:lnTo>
                <a:lnTo>
                  <a:pt x="1344706" y="2196353"/>
                </a:lnTo>
                <a:lnTo>
                  <a:pt x="1900518" y="1963270"/>
                </a:lnTo>
                <a:lnTo>
                  <a:pt x="2617694" y="1792941"/>
                </a:lnTo>
                <a:lnTo>
                  <a:pt x="3469341" y="1748118"/>
                </a:lnTo>
                <a:lnTo>
                  <a:pt x="4007224" y="914400"/>
                </a:lnTo>
                <a:lnTo>
                  <a:pt x="4616824" y="0"/>
                </a:lnTo>
                <a:lnTo>
                  <a:pt x="8965" y="17929"/>
                </a:lnTo>
                <a:cubicBezTo>
                  <a:pt x="11953" y="1775011"/>
                  <a:pt x="14942" y="3532094"/>
                  <a:pt x="0" y="5280212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FC7EB0-E462-1FF6-C5AE-58525C3E4759}"/>
              </a:ext>
            </a:extLst>
          </p:cNvPr>
          <p:cNvSpPr txBox="1"/>
          <p:nvPr/>
        </p:nvSpPr>
        <p:spPr>
          <a:xfrm>
            <a:off x="1593536" y="2226160"/>
            <a:ext cx="1905305" cy="7428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s-AR" sz="1600" b="1" dirty="0">
                <a:solidFill>
                  <a:schemeClr val="tx1"/>
                </a:solidFill>
              </a:rPr>
              <a:t>Material </a:t>
            </a:r>
          </a:p>
          <a:p>
            <a:pPr algn="ctr"/>
            <a:r>
              <a:rPr lang="es-AR" sz="1600" b="1" dirty="0" err="1">
                <a:solidFill>
                  <a:schemeClr val="tx1"/>
                </a:solidFill>
              </a:rPr>
              <a:t>Reduction</a:t>
            </a:r>
            <a:r>
              <a:rPr lang="es-AR" sz="1600" b="1" dirty="0">
                <a:solidFill>
                  <a:schemeClr val="tx1"/>
                </a:solidFill>
              </a:rPr>
              <a:t> </a:t>
            </a:r>
            <a:r>
              <a:rPr lang="es-AR" sz="1600" b="1" dirty="0" err="1">
                <a:solidFill>
                  <a:schemeClr val="tx1"/>
                </a:solidFill>
              </a:rPr>
              <a:t>Alignment</a:t>
            </a:r>
            <a:endParaRPr lang="es-AR" sz="1600" b="1" dirty="0">
              <a:solidFill>
                <a:schemeClr val="tx1"/>
              </a:solidFill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926176E-8E75-3CDF-3CB1-76122D7E55A4}"/>
              </a:ext>
            </a:extLst>
          </p:cNvPr>
          <p:cNvSpPr/>
          <p:nvPr/>
        </p:nvSpPr>
        <p:spPr>
          <a:xfrm>
            <a:off x="1148297" y="1803342"/>
            <a:ext cx="3903599" cy="4142415"/>
          </a:xfrm>
          <a:custGeom>
            <a:avLst/>
            <a:gdLst>
              <a:gd name="connsiteX0" fmla="*/ 0 w 4610100"/>
              <a:gd name="connsiteY0" fmla="*/ 5257800 h 5267325"/>
              <a:gd name="connsiteX1" fmla="*/ 0 w 4610100"/>
              <a:gd name="connsiteY1" fmla="*/ 0 h 5267325"/>
              <a:gd name="connsiteX2" fmla="*/ 4591050 w 4610100"/>
              <a:gd name="connsiteY2" fmla="*/ 0 h 5267325"/>
              <a:gd name="connsiteX3" fmla="*/ 4610100 w 4610100"/>
              <a:gd name="connsiteY3" fmla="*/ 2609850 h 5267325"/>
              <a:gd name="connsiteX4" fmla="*/ 590550 w 4610100"/>
              <a:gd name="connsiteY4" fmla="*/ 5267325 h 5267325"/>
              <a:gd name="connsiteX5" fmla="*/ 0 w 4610100"/>
              <a:gd name="connsiteY5" fmla="*/ 5257800 h 5267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0100" h="5267325">
                <a:moveTo>
                  <a:pt x="0" y="5257800"/>
                </a:moveTo>
                <a:lnTo>
                  <a:pt x="0" y="0"/>
                </a:lnTo>
                <a:lnTo>
                  <a:pt x="4591050" y="0"/>
                </a:lnTo>
                <a:lnTo>
                  <a:pt x="4610100" y="2609850"/>
                </a:lnTo>
                <a:lnTo>
                  <a:pt x="590550" y="5267325"/>
                </a:lnTo>
                <a:lnTo>
                  <a:pt x="0" y="5257800"/>
                </a:lnTo>
                <a:close/>
              </a:path>
            </a:pathLst>
          </a:cu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4692C1-D565-4D72-550C-204D448E10A7}"/>
              </a:ext>
            </a:extLst>
          </p:cNvPr>
          <p:cNvCxnSpPr>
            <a:cxnSpLocks/>
          </p:cNvCxnSpPr>
          <p:nvPr/>
        </p:nvCxnSpPr>
        <p:spPr>
          <a:xfrm>
            <a:off x="5034341" y="3017741"/>
            <a:ext cx="0" cy="2928018"/>
          </a:xfrm>
          <a:prstGeom prst="line">
            <a:avLst/>
          </a:prstGeom>
          <a:ln w="6350" cap="flat" cmpd="sng" algn="ctr">
            <a:solidFill>
              <a:srgbClr val="4D4D4D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9D7FCAA7-F35B-C570-7EEE-366B802C6361}"/>
              </a:ext>
            </a:extLst>
          </p:cNvPr>
          <p:cNvSpPr/>
          <p:nvPr/>
        </p:nvSpPr>
        <p:spPr>
          <a:xfrm>
            <a:off x="3765306" y="1832202"/>
            <a:ext cx="4312518" cy="2743196"/>
          </a:xfrm>
          <a:custGeom>
            <a:avLst/>
            <a:gdLst>
              <a:gd name="connsiteX0" fmla="*/ 0 w 4791075"/>
              <a:gd name="connsiteY0" fmla="*/ 1733550 h 3571875"/>
              <a:gd name="connsiteX1" fmla="*/ 685800 w 4791075"/>
              <a:gd name="connsiteY1" fmla="*/ 723900 h 3571875"/>
              <a:gd name="connsiteX2" fmla="*/ 962025 w 4791075"/>
              <a:gd name="connsiteY2" fmla="*/ 285750 h 3571875"/>
              <a:gd name="connsiteX3" fmla="*/ 1133475 w 4791075"/>
              <a:gd name="connsiteY3" fmla="*/ 9525 h 3571875"/>
              <a:gd name="connsiteX4" fmla="*/ 4791075 w 4791075"/>
              <a:gd name="connsiteY4" fmla="*/ 0 h 3571875"/>
              <a:gd name="connsiteX5" fmla="*/ 4752975 w 4791075"/>
              <a:gd name="connsiteY5" fmla="*/ 3571875 h 3571875"/>
              <a:gd name="connsiteX6" fmla="*/ 3981450 w 4791075"/>
              <a:gd name="connsiteY6" fmla="*/ 3314700 h 3571875"/>
              <a:gd name="connsiteX7" fmla="*/ 3295650 w 4791075"/>
              <a:gd name="connsiteY7" fmla="*/ 3048000 h 3571875"/>
              <a:gd name="connsiteX8" fmla="*/ 2305050 w 4791075"/>
              <a:gd name="connsiteY8" fmla="*/ 2562225 h 3571875"/>
              <a:gd name="connsiteX9" fmla="*/ 1400175 w 4791075"/>
              <a:gd name="connsiteY9" fmla="*/ 2105025 h 3571875"/>
              <a:gd name="connsiteX10" fmla="*/ 790575 w 4791075"/>
              <a:gd name="connsiteY10" fmla="*/ 1866900 h 3571875"/>
              <a:gd name="connsiteX11" fmla="*/ 200025 w 4791075"/>
              <a:gd name="connsiteY11" fmla="*/ 1743075 h 3571875"/>
              <a:gd name="connsiteX12" fmla="*/ 0 w 4791075"/>
              <a:gd name="connsiteY12" fmla="*/ 1733550 h 3571875"/>
              <a:gd name="connsiteX0" fmla="*/ 0 w 4791075"/>
              <a:gd name="connsiteY0" fmla="*/ 1733550 h 3581400"/>
              <a:gd name="connsiteX1" fmla="*/ 685800 w 4791075"/>
              <a:gd name="connsiteY1" fmla="*/ 723900 h 3581400"/>
              <a:gd name="connsiteX2" fmla="*/ 962025 w 4791075"/>
              <a:gd name="connsiteY2" fmla="*/ 285750 h 3581400"/>
              <a:gd name="connsiteX3" fmla="*/ 1133475 w 4791075"/>
              <a:gd name="connsiteY3" fmla="*/ 9525 h 3581400"/>
              <a:gd name="connsiteX4" fmla="*/ 4791075 w 4791075"/>
              <a:gd name="connsiteY4" fmla="*/ 0 h 3581400"/>
              <a:gd name="connsiteX5" fmla="*/ 4772301 w 4791075"/>
              <a:gd name="connsiteY5" fmla="*/ 3581400 h 3581400"/>
              <a:gd name="connsiteX6" fmla="*/ 3981450 w 4791075"/>
              <a:gd name="connsiteY6" fmla="*/ 3314700 h 3581400"/>
              <a:gd name="connsiteX7" fmla="*/ 3295650 w 4791075"/>
              <a:gd name="connsiteY7" fmla="*/ 3048000 h 3581400"/>
              <a:gd name="connsiteX8" fmla="*/ 2305050 w 4791075"/>
              <a:gd name="connsiteY8" fmla="*/ 2562225 h 3581400"/>
              <a:gd name="connsiteX9" fmla="*/ 1400175 w 4791075"/>
              <a:gd name="connsiteY9" fmla="*/ 2105025 h 3581400"/>
              <a:gd name="connsiteX10" fmla="*/ 790575 w 4791075"/>
              <a:gd name="connsiteY10" fmla="*/ 1866900 h 3581400"/>
              <a:gd name="connsiteX11" fmla="*/ 200025 w 4791075"/>
              <a:gd name="connsiteY11" fmla="*/ 1743075 h 3581400"/>
              <a:gd name="connsiteX12" fmla="*/ 0 w 4791075"/>
              <a:gd name="connsiteY12" fmla="*/ 1733550 h 3581400"/>
              <a:gd name="connsiteX0" fmla="*/ 0 w 4772301"/>
              <a:gd name="connsiteY0" fmla="*/ 1724025 h 3571875"/>
              <a:gd name="connsiteX1" fmla="*/ 685800 w 4772301"/>
              <a:gd name="connsiteY1" fmla="*/ 714375 h 3571875"/>
              <a:gd name="connsiteX2" fmla="*/ 962025 w 4772301"/>
              <a:gd name="connsiteY2" fmla="*/ 276225 h 3571875"/>
              <a:gd name="connsiteX3" fmla="*/ 1133475 w 4772301"/>
              <a:gd name="connsiteY3" fmla="*/ 0 h 3571875"/>
              <a:gd name="connsiteX4" fmla="*/ 4742761 w 4772301"/>
              <a:gd name="connsiteY4" fmla="*/ 0 h 3571875"/>
              <a:gd name="connsiteX5" fmla="*/ 4772301 w 4772301"/>
              <a:gd name="connsiteY5" fmla="*/ 3571875 h 3571875"/>
              <a:gd name="connsiteX6" fmla="*/ 3981450 w 4772301"/>
              <a:gd name="connsiteY6" fmla="*/ 3305175 h 3571875"/>
              <a:gd name="connsiteX7" fmla="*/ 3295650 w 4772301"/>
              <a:gd name="connsiteY7" fmla="*/ 3038475 h 3571875"/>
              <a:gd name="connsiteX8" fmla="*/ 2305050 w 4772301"/>
              <a:gd name="connsiteY8" fmla="*/ 2552700 h 3571875"/>
              <a:gd name="connsiteX9" fmla="*/ 1400175 w 4772301"/>
              <a:gd name="connsiteY9" fmla="*/ 2095500 h 3571875"/>
              <a:gd name="connsiteX10" fmla="*/ 790575 w 4772301"/>
              <a:gd name="connsiteY10" fmla="*/ 1857375 h 3571875"/>
              <a:gd name="connsiteX11" fmla="*/ 200025 w 4772301"/>
              <a:gd name="connsiteY11" fmla="*/ 1733550 h 3571875"/>
              <a:gd name="connsiteX12" fmla="*/ 0 w 4772301"/>
              <a:gd name="connsiteY12" fmla="*/ 1724025 h 3571875"/>
              <a:gd name="connsiteX0" fmla="*/ 0 w 4772301"/>
              <a:gd name="connsiteY0" fmla="*/ 1724025 h 3571875"/>
              <a:gd name="connsiteX1" fmla="*/ 685800 w 4772301"/>
              <a:gd name="connsiteY1" fmla="*/ 714375 h 3571875"/>
              <a:gd name="connsiteX2" fmla="*/ 962025 w 4772301"/>
              <a:gd name="connsiteY2" fmla="*/ 276225 h 3571875"/>
              <a:gd name="connsiteX3" fmla="*/ 1133475 w 4772301"/>
              <a:gd name="connsiteY3" fmla="*/ 0 h 3571875"/>
              <a:gd name="connsiteX4" fmla="*/ 4742761 w 4772301"/>
              <a:gd name="connsiteY4" fmla="*/ 0 h 3571875"/>
              <a:gd name="connsiteX5" fmla="*/ 4772301 w 4772301"/>
              <a:gd name="connsiteY5" fmla="*/ 3571875 h 3571875"/>
              <a:gd name="connsiteX6" fmla="*/ 3981451 w 4772301"/>
              <a:gd name="connsiteY6" fmla="*/ 3291528 h 3571875"/>
              <a:gd name="connsiteX7" fmla="*/ 3295650 w 4772301"/>
              <a:gd name="connsiteY7" fmla="*/ 3038475 h 3571875"/>
              <a:gd name="connsiteX8" fmla="*/ 2305050 w 4772301"/>
              <a:gd name="connsiteY8" fmla="*/ 2552700 h 3571875"/>
              <a:gd name="connsiteX9" fmla="*/ 1400175 w 4772301"/>
              <a:gd name="connsiteY9" fmla="*/ 2095500 h 3571875"/>
              <a:gd name="connsiteX10" fmla="*/ 790575 w 4772301"/>
              <a:gd name="connsiteY10" fmla="*/ 1857375 h 3571875"/>
              <a:gd name="connsiteX11" fmla="*/ 200025 w 4772301"/>
              <a:gd name="connsiteY11" fmla="*/ 1733550 h 3571875"/>
              <a:gd name="connsiteX12" fmla="*/ 0 w 4772301"/>
              <a:gd name="connsiteY12" fmla="*/ 1724025 h 3571875"/>
              <a:gd name="connsiteX0" fmla="*/ 0 w 4772301"/>
              <a:gd name="connsiteY0" fmla="*/ 1724025 h 3571875"/>
              <a:gd name="connsiteX1" fmla="*/ 685800 w 4772301"/>
              <a:gd name="connsiteY1" fmla="*/ 714375 h 3571875"/>
              <a:gd name="connsiteX2" fmla="*/ 962025 w 4772301"/>
              <a:gd name="connsiteY2" fmla="*/ 276225 h 3571875"/>
              <a:gd name="connsiteX3" fmla="*/ 1133475 w 4772301"/>
              <a:gd name="connsiteY3" fmla="*/ 0 h 3571875"/>
              <a:gd name="connsiteX4" fmla="*/ 4742761 w 4772301"/>
              <a:gd name="connsiteY4" fmla="*/ 0 h 3571875"/>
              <a:gd name="connsiteX5" fmla="*/ 4772301 w 4772301"/>
              <a:gd name="connsiteY5" fmla="*/ 3571875 h 3571875"/>
              <a:gd name="connsiteX6" fmla="*/ 3981451 w 4772301"/>
              <a:gd name="connsiteY6" fmla="*/ 3291528 h 3571875"/>
              <a:gd name="connsiteX7" fmla="*/ 3302573 w 4772301"/>
              <a:gd name="connsiteY7" fmla="*/ 3018003 h 3571875"/>
              <a:gd name="connsiteX8" fmla="*/ 2305050 w 4772301"/>
              <a:gd name="connsiteY8" fmla="*/ 2552700 h 3571875"/>
              <a:gd name="connsiteX9" fmla="*/ 1400175 w 4772301"/>
              <a:gd name="connsiteY9" fmla="*/ 2095500 h 3571875"/>
              <a:gd name="connsiteX10" fmla="*/ 790575 w 4772301"/>
              <a:gd name="connsiteY10" fmla="*/ 1857375 h 3571875"/>
              <a:gd name="connsiteX11" fmla="*/ 200025 w 4772301"/>
              <a:gd name="connsiteY11" fmla="*/ 1733550 h 3571875"/>
              <a:gd name="connsiteX12" fmla="*/ 0 w 4772301"/>
              <a:gd name="connsiteY12" fmla="*/ 1724025 h 3571875"/>
              <a:gd name="connsiteX0" fmla="*/ 0 w 4772301"/>
              <a:gd name="connsiteY0" fmla="*/ 1724025 h 3571875"/>
              <a:gd name="connsiteX1" fmla="*/ 685800 w 4772301"/>
              <a:gd name="connsiteY1" fmla="*/ 714375 h 3571875"/>
              <a:gd name="connsiteX2" fmla="*/ 962025 w 4772301"/>
              <a:gd name="connsiteY2" fmla="*/ 276225 h 3571875"/>
              <a:gd name="connsiteX3" fmla="*/ 1133475 w 4772301"/>
              <a:gd name="connsiteY3" fmla="*/ 0 h 3571875"/>
              <a:gd name="connsiteX4" fmla="*/ 4742761 w 4772301"/>
              <a:gd name="connsiteY4" fmla="*/ 0 h 3571875"/>
              <a:gd name="connsiteX5" fmla="*/ 4772301 w 4772301"/>
              <a:gd name="connsiteY5" fmla="*/ 3571875 h 3571875"/>
              <a:gd name="connsiteX6" fmla="*/ 3981451 w 4772301"/>
              <a:gd name="connsiteY6" fmla="*/ 3291528 h 3571875"/>
              <a:gd name="connsiteX7" fmla="*/ 3302573 w 4772301"/>
              <a:gd name="connsiteY7" fmla="*/ 3018003 h 3571875"/>
              <a:gd name="connsiteX8" fmla="*/ 2305050 w 4772301"/>
              <a:gd name="connsiteY8" fmla="*/ 2552700 h 3571875"/>
              <a:gd name="connsiteX9" fmla="*/ 1400175 w 4772301"/>
              <a:gd name="connsiteY9" fmla="*/ 2095500 h 3571875"/>
              <a:gd name="connsiteX10" fmla="*/ 790575 w 4772301"/>
              <a:gd name="connsiteY10" fmla="*/ 1857375 h 3571875"/>
              <a:gd name="connsiteX11" fmla="*/ 200025 w 4772301"/>
              <a:gd name="connsiteY11" fmla="*/ 1733550 h 3571875"/>
              <a:gd name="connsiteX12" fmla="*/ 0 w 4772301"/>
              <a:gd name="connsiteY12" fmla="*/ 1724025 h 3571875"/>
              <a:gd name="connsiteX0" fmla="*/ 0 w 4772301"/>
              <a:gd name="connsiteY0" fmla="*/ 1724025 h 3571875"/>
              <a:gd name="connsiteX1" fmla="*/ 685800 w 4772301"/>
              <a:gd name="connsiteY1" fmla="*/ 714375 h 3571875"/>
              <a:gd name="connsiteX2" fmla="*/ 962025 w 4772301"/>
              <a:gd name="connsiteY2" fmla="*/ 276225 h 3571875"/>
              <a:gd name="connsiteX3" fmla="*/ 1133475 w 4772301"/>
              <a:gd name="connsiteY3" fmla="*/ 0 h 3571875"/>
              <a:gd name="connsiteX4" fmla="*/ 4742761 w 4772301"/>
              <a:gd name="connsiteY4" fmla="*/ 0 h 3571875"/>
              <a:gd name="connsiteX5" fmla="*/ 4772301 w 4772301"/>
              <a:gd name="connsiteY5" fmla="*/ 3571875 h 3571875"/>
              <a:gd name="connsiteX6" fmla="*/ 3981451 w 4772301"/>
              <a:gd name="connsiteY6" fmla="*/ 3291528 h 3571875"/>
              <a:gd name="connsiteX7" fmla="*/ 3261038 w 4772301"/>
              <a:gd name="connsiteY7" fmla="*/ 2970236 h 3571875"/>
              <a:gd name="connsiteX8" fmla="*/ 2305050 w 4772301"/>
              <a:gd name="connsiteY8" fmla="*/ 2552700 h 3571875"/>
              <a:gd name="connsiteX9" fmla="*/ 1400175 w 4772301"/>
              <a:gd name="connsiteY9" fmla="*/ 2095500 h 3571875"/>
              <a:gd name="connsiteX10" fmla="*/ 790575 w 4772301"/>
              <a:gd name="connsiteY10" fmla="*/ 1857375 h 3571875"/>
              <a:gd name="connsiteX11" fmla="*/ 200025 w 4772301"/>
              <a:gd name="connsiteY11" fmla="*/ 1733550 h 3571875"/>
              <a:gd name="connsiteX12" fmla="*/ 0 w 4772301"/>
              <a:gd name="connsiteY12" fmla="*/ 1724025 h 3571875"/>
              <a:gd name="connsiteX0" fmla="*/ 0 w 4737144"/>
              <a:gd name="connsiteY0" fmla="*/ 1740788 h 3571875"/>
              <a:gd name="connsiteX1" fmla="*/ 650643 w 4737144"/>
              <a:gd name="connsiteY1" fmla="*/ 714375 h 3571875"/>
              <a:gd name="connsiteX2" fmla="*/ 926868 w 4737144"/>
              <a:gd name="connsiteY2" fmla="*/ 276225 h 3571875"/>
              <a:gd name="connsiteX3" fmla="*/ 1098318 w 4737144"/>
              <a:gd name="connsiteY3" fmla="*/ 0 h 3571875"/>
              <a:gd name="connsiteX4" fmla="*/ 4707604 w 4737144"/>
              <a:gd name="connsiteY4" fmla="*/ 0 h 3571875"/>
              <a:gd name="connsiteX5" fmla="*/ 4737144 w 4737144"/>
              <a:gd name="connsiteY5" fmla="*/ 3571875 h 3571875"/>
              <a:gd name="connsiteX6" fmla="*/ 3946294 w 4737144"/>
              <a:gd name="connsiteY6" fmla="*/ 3291528 h 3571875"/>
              <a:gd name="connsiteX7" fmla="*/ 3225881 w 4737144"/>
              <a:gd name="connsiteY7" fmla="*/ 2970236 h 3571875"/>
              <a:gd name="connsiteX8" fmla="*/ 2269893 w 4737144"/>
              <a:gd name="connsiteY8" fmla="*/ 2552700 h 3571875"/>
              <a:gd name="connsiteX9" fmla="*/ 1365018 w 4737144"/>
              <a:gd name="connsiteY9" fmla="*/ 2095500 h 3571875"/>
              <a:gd name="connsiteX10" fmla="*/ 755418 w 4737144"/>
              <a:gd name="connsiteY10" fmla="*/ 1857375 h 3571875"/>
              <a:gd name="connsiteX11" fmla="*/ 164868 w 4737144"/>
              <a:gd name="connsiteY11" fmla="*/ 1733550 h 3571875"/>
              <a:gd name="connsiteX12" fmla="*/ 0 w 4737144"/>
              <a:gd name="connsiteY12" fmla="*/ 1740788 h 3571875"/>
              <a:gd name="connsiteX0" fmla="*/ 0 w 4737144"/>
              <a:gd name="connsiteY0" fmla="*/ 1740788 h 3571875"/>
              <a:gd name="connsiteX1" fmla="*/ 501227 w 4737144"/>
              <a:gd name="connsiteY1" fmla="*/ 873625 h 3571875"/>
              <a:gd name="connsiteX2" fmla="*/ 926868 w 4737144"/>
              <a:gd name="connsiteY2" fmla="*/ 276225 h 3571875"/>
              <a:gd name="connsiteX3" fmla="*/ 1098318 w 4737144"/>
              <a:gd name="connsiteY3" fmla="*/ 0 h 3571875"/>
              <a:gd name="connsiteX4" fmla="*/ 4707604 w 4737144"/>
              <a:gd name="connsiteY4" fmla="*/ 0 h 3571875"/>
              <a:gd name="connsiteX5" fmla="*/ 4737144 w 4737144"/>
              <a:gd name="connsiteY5" fmla="*/ 3571875 h 3571875"/>
              <a:gd name="connsiteX6" fmla="*/ 3946294 w 4737144"/>
              <a:gd name="connsiteY6" fmla="*/ 3291528 h 3571875"/>
              <a:gd name="connsiteX7" fmla="*/ 3225881 w 4737144"/>
              <a:gd name="connsiteY7" fmla="*/ 2970236 h 3571875"/>
              <a:gd name="connsiteX8" fmla="*/ 2269893 w 4737144"/>
              <a:gd name="connsiteY8" fmla="*/ 2552700 h 3571875"/>
              <a:gd name="connsiteX9" fmla="*/ 1365018 w 4737144"/>
              <a:gd name="connsiteY9" fmla="*/ 2095500 h 3571875"/>
              <a:gd name="connsiteX10" fmla="*/ 755418 w 4737144"/>
              <a:gd name="connsiteY10" fmla="*/ 1857375 h 3571875"/>
              <a:gd name="connsiteX11" fmla="*/ 164868 w 4737144"/>
              <a:gd name="connsiteY11" fmla="*/ 1733550 h 3571875"/>
              <a:gd name="connsiteX12" fmla="*/ 0 w 4737144"/>
              <a:gd name="connsiteY12" fmla="*/ 1740788 h 3571875"/>
              <a:gd name="connsiteX0" fmla="*/ 0 w 4737144"/>
              <a:gd name="connsiteY0" fmla="*/ 1740788 h 3571875"/>
              <a:gd name="connsiteX1" fmla="*/ 501227 w 4737144"/>
              <a:gd name="connsiteY1" fmla="*/ 873625 h 3571875"/>
              <a:gd name="connsiteX2" fmla="*/ 768663 w 4737144"/>
              <a:gd name="connsiteY2" fmla="*/ 318132 h 3571875"/>
              <a:gd name="connsiteX3" fmla="*/ 1098318 w 4737144"/>
              <a:gd name="connsiteY3" fmla="*/ 0 h 3571875"/>
              <a:gd name="connsiteX4" fmla="*/ 4707604 w 4737144"/>
              <a:gd name="connsiteY4" fmla="*/ 0 h 3571875"/>
              <a:gd name="connsiteX5" fmla="*/ 4737144 w 4737144"/>
              <a:gd name="connsiteY5" fmla="*/ 3571875 h 3571875"/>
              <a:gd name="connsiteX6" fmla="*/ 3946294 w 4737144"/>
              <a:gd name="connsiteY6" fmla="*/ 3291528 h 3571875"/>
              <a:gd name="connsiteX7" fmla="*/ 3225881 w 4737144"/>
              <a:gd name="connsiteY7" fmla="*/ 2970236 h 3571875"/>
              <a:gd name="connsiteX8" fmla="*/ 2269893 w 4737144"/>
              <a:gd name="connsiteY8" fmla="*/ 2552700 h 3571875"/>
              <a:gd name="connsiteX9" fmla="*/ 1365018 w 4737144"/>
              <a:gd name="connsiteY9" fmla="*/ 2095500 h 3571875"/>
              <a:gd name="connsiteX10" fmla="*/ 755418 w 4737144"/>
              <a:gd name="connsiteY10" fmla="*/ 1857375 h 3571875"/>
              <a:gd name="connsiteX11" fmla="*/ 164868 w 4737144"/>
              <a:gd name="connsiteY11" fmla="*/ 1733550 h 3571875"/>
              <a:gd name="connsiteX12" fmla="*/ 0 w 4737144"/>
              <a:gd name="connsiteY12" fmla="*/ 1740788 h 3571875"/>
              <a:gd name="connsiteX0" fmla="*/ 0 w 4737144"/>
              <a:gd name="connsiteY0" fmla="*/ 1757551 h 3588638"/>
              <a:gd name="connsiteX1" fmla="*/ 501227 w 4737144"/>
              <a:gd name="connsiteY1" fmla="*/ 890388 h 3588638"/>
              <a:gd name="connsiteX2" fmla="*/ 768663 w 4737144"/>
              <a:gd name="connsiteY2" fmla="*/ 334895 h 3588638"/>
              <a:gd name="connsiteX3" fmla="*/ 940113 w 4737144"/>
              <a:gd name="connsiteY3" fmla="*/ 0 h 3588638"/>
              <a:gd name="connsiteX4" fmla="*/ 4707604 w 4737144"/>
              <a:gd name="connsiteY4" fmla="*/ 16763 h 3588638"/>
              <a:gd name="connsiteX5" fmla="*/ 4737144 w 4737144"/>
              <a:gd name="connsiteY5" fmla="*/ 3588638 h 3588638"/>
              <a:gd name="connsiteX6" fmla="*/ 3946294 w 4737144"/>
              <a:gd name="connsiteY6" fmla="*/ 3308291 h 3588638"/>
              <a:gd name="connsiteX7" fmla="*/ 3225881 w 4737144"/>
              <a:gd name="connsiteY7" fmla="*/ 2986999 h 3588638"/>
              <a:gd name="connsiteX8" fmla="*/ 2269893 w 4737144"/>
              <a:gd name="connsiteY8" fmla="*/ 2569463 h 3588638"/>
              <a:gd name="connsiteX9" fmla="*/ 1365018 w 4737144"/>
              <a:gd name="connsiteY9" fmla="*/ 2112263 h 3588638"/>
              <a:gd name="connsiteX10" fmla="*/ 755418 w 4737144"/>
              <a:gd name="connsiteY10" fmla="*/ 1874138 h 3588638"/>
              <a:gd name="connsiteX11" fmla="*/ 164868 w 4737144"/>
              <a:gd name="connsiteY11" fmla="*/ 1750313 h 3588638"/>
              <a:gd name="connsiteX12" fmla="*/ 0 w 4737144"/>
              <a:gd name="connsiteY12" fmla="*/ 1757551 h 3588638"/>
              <a:gd name="connsiteX0" fmla="*/ 0 w 4737144"/>
              <a:gd name="connsiteY0" fmla="*/ 1757551 h 3588638"/>
              <a:gd name="connsiteX1" fmla="*/ 501227 w 4737144"/>
              <a:gd name="connsiteY1" fmla="*/ 890388 h 3588638"/>
              <a:gd name="connsiteX2" fmla="*/ 768663 w 4737144"/>
              <a:gd name="connsiteY2" fmla="*/ 334895 h 3588638"/>
              <a:gd name="connsiteX3" fmla="*/ 940113 w 4737144"/>
              <a:gd name="connsiteY3" fmla="*/ 0 h 3588638"/>
              <a:gd name="connsiteX4" fmla="*/ 4707604 w 4737144"/>
              <a:gd name="connsiteY4" fmla="*/ 16763 h 3588638"/>
              <a:gd name="connsiteX5" fmla="*/ 4737144 w 4737144"/>
              <a:gd name="connsiteY5" fmla="*/ 3588638 h 3588638"/>
              <a:gd name="connsiteX6" fmla="*/ 3946294 w 4737144"/>
              <a:gd name="connsiteY6" fmla="*/ 3308291 h 3588638"/>
              <a:gd name="connsiteX7" fmla="*/ 3225881 w 4737144"/>
              <a:gd name="connsiteY7" fmla="*/ 2986999 h 3588638"/>
              <a:gd name="connsiteX8" fmla="*/ 2269893 w 4737144"/>
              <a:gd name="connsiteY8" fmla="*/ 2569463 h 3588638"/>
              <a:gd name="connsiteX9" fmla="*/ 1365018 w 4737144"/>
              <a:gd name="connsiteY9" fmla="*/ 2112263 h 3588638"/>
              <a:gd name="connsiteX10" fmla="*/ 816942 w 4737144"/>
              <a:gd name="connsiteY10" fmla="*/ 1823848 h 3588638"/>
              <a:gd name="connsiteX11" fmla="*/ 164868 w 4737144"/>
              <a:gd name="connsiteY11" fmla="*/ 1750313 h 3588638"/>
              <a:gd name="connsiteX12" fmla="*/ 0 w 4737144"/>
              <a:gd name="connsiteY12" fmla="*/ 1757551 h 3588638"/>
              <a:gd name="connsiteX0" fmla="*/ 0 w 4737144"/>
              <a:gd name="connsiteY0" fmla="*/ 1757551 h 3588638"/>
              <a:gd name="connsiteX1" fmla="*/ 501227 w 4737144"/>
              <a:gd name="connsiteY1" fmla="*/ 890388 h 3588638"/>
              <a:gd name="connsiteX2" fmla="*/ 768663 w 4737144"/>
              <a:gd name="connsiteY2" fmla="*/ 334895 h 3588638"/>
              <a:gd name="connsiteX3" fmla="*/ 940113 w 4737144"/>
              <a:gd name="connsiteY3" fmla="*/ 0 h 3588638"/>
              <a:gd name="connsiteX4" fmla="*/ 4707604 w 4737144"/>
              <a:gd name="connsiteY4" fmla="*/ 16763 h 3588638"/>
              <a:gd name="connsiteX5" fmla="*/ 4737144 w 4737144"/>
              <a:gd name="connsiteY5" fmla="*/ 3588638 h 3588638"/>
              <a:gd name="connsiteX6" fmla="*/ 3946294 w 4737144"/>
              <a:gd name="connsiteY6" fmla="*/ 3308291 h 3588638"/>
              <a:gd name="connsiteX7" fmla="*/ 3225881 w 4737144"/>
              <a:gd name="connsiteY7" fmla="*/ 2986999 h 3588638"/>
              <a:gd name="connsiteX8" fmla="*/ 2269893 w 4737144"/>
              <a:gd name="connsiteY8" fmla="*/ 2569463 h 3588638"/>
              <a:gd name="connsiteX9" fmla="*/ 1505644 w 4737144"/>
              <a:gd name="connsiteY9" fmla="*/ 2053592 h 3588638"/>
              <a:gd name="connsiteX10" fmla="*/ 816942 w 4737144"/>
              <a:gd name="connsiteY10" fmla="*/ 1823848 h 3588638"/>
              <a:gd name="connsiteX11" fmla="*/ 164868 w 4737144"/>
              <a:gd name="connsiteY11" fmla="*/ 1750313 h 3588638"/>
              <a:gd name="connsiteX12" fmla="*/ 0 w 4737144"/>
              <a:gd name="connsiteY12" fmla="*/ 1757551 h 3588638"/>
              <a:gd name="connsiteX0" fmla="*/ 0 w 4737144"/>
              <a:gd name="connsiteY0" fmla="*/ 1757551 h 3588638"/>
              <a:gd name="connsiteX1" fmla="*/ 501227 w 4737144"/>
              <a:gd name="connsiteY1" fmla="*/ 890388 h 3588638"/>
              <a:gd name="connsiteX2" fmla="*/ 768663 w 4737144"/>
              <a:gd name="connsiteY2" fmla="*/ 334895 h 3588638"/>
              <a:gd name="connsiteX3" fmla="*/ 940113 w 4737144"/>
              <a:gd name="connsiteY3" fmla="*/ 0 h 3588638"/>
              <a:gd name="connsiteX4" fmla="*/ 4707604 w 4737144"/>
              <a:gd name="connsiteY4" fmla="*/ 16763 h 3588638"/>
              <a:gd name="connsiteX5" fmla="*/ 4737144 w 4737144"/>
              <a:gd name="connsiteY5" fmla="*/ 3588638 h 3588638"/>
              <a:gd name="connsiteX6" fmla="*/ 3946294 w 4737144"/>
              <a:gd name="connsiteY6" fmla="*/ 3308291 h 3588638"/>
              <a:gd name="connsiteX7" fmla="*/ 3225881 w 4737144"/>
              <a:gd name="connsiteY7" fmla="*/ 2986999 h 3588638"/>
              <a:gd name="connsiteX8" fmla="*/ 2305049 w 4737144"/>
              <a:gd name="connsiteY8" fmla="*/ 2485647 h 3588638"/>
              <a:gd name="connsiteX9" fmla="*/ 1505644 w 4737144"/>
              <a:gd name="connsiteY9" fmla="*/ 2053592 h 3588638"/>
              <a:gd name="connsiteX10" fmla="*/ 816942 w 4737144"/>
              <a:gd name="connsiteY10" fmla="*/ 1823848 h 3588638"/>
              <a:gd name="connsiteX11" fmla="*/ 164868 w 4737144"/>
              <a:gd name="connsiteY11" fmla="*/ 1750313 h 3588638"/>
              <a:gd name="connsiteX12" fmla="*/ 0 w 4737144"/>
              <a:gd name="connsiteY12" fmla="*/ 1757551 h 3588638"/>
              <a:gd name="connsiteX0" fmla="*/ 0 w 4745933"/>
              <a:gd name="connsiteY0" fmla="*/ 1757551 h 3622164"/>
              <a:gd name="connsiteX1" fmla="*/ 501227 w 4745933"/>
              <a:gd name="connsiteY1" fmla="*/ 890388 h 3622164"/>
              <a:gd name="connsiteX2" fmla="*/ 768663 w 4745933"/>
              <a:gd name="connsiteY2" fmla="*/ 334895 h 3622164"/>
              <a:gd name="connsiteX3" fmla="*/ 940113 w 4745933"/>
              <a:gd name="connsiteY3" fmla="*/ 0 h 3622164"/>
              <a:gd name="connsiteX4" fmla="*/ 4707604 w 4745933"/>
              <a:gd name="connsiteY4" fmla="*/ 16763 h 3622164"/>
              <a:gd name="connsiteX5" fmla="*/ 4745933 w 4745933"/>
              <a:gd name="connsiteY5" fmla="*/ 3622164 h 3622164"/>
              <a:gd name="connsiteX6" fmla="*/ 3946294 w 4745933"/>
              <a:gd name="connsiteY6" fmla="*/ 3308291 h 3622164"/>
              <a:gd name="connsiteX7" fmla="*/ 3225881 w 4745933"/>
              <a:gd name="connsiteY7" fmla="*/ 2986999 h 3622164"/>
              <a:gd name="connsiteX8" fmla="*/ 2305049 w 4745933"/>
              <a:gd name="connsiteY8" fmla="*/ 2485647 h 3622164"/>
              <a:gd name="connsiteX9" fmla="*/ 1505644 w 4745933"/>
              <a:gd name="connsiteY9" fmla="*/ 2053592 h 3622164"/>
              <a:gd name="connsiteX10" fmla="*/ 816942 w 4745933"/>
              <a:gd name="connsiteY10" fmla="*/ 1823848 h 3622164"/>
              <a:gd name="connsiteX11" fmla="*/ 164868 w 4745933"/>
              <a:gd name="connsiteY11" fmla="*/ 1750313 h 3622164"/>
              <a:gd name="connsiteX12" fmla="*/ 0 w 4745933"/>
              <a:gd name="connsiteY12" fmla="*/ 1757551 h 3622164"/>
              <a:gd name="connsiteX0" fmla="*/ 0 w 4745933"/>
              <a:gd name="connsiteY0" fmla="*/ 1757551 h 3622164"/>
              <a:gd name="connsiteX1" fmla="*/ 501227 w 4745933"/>
              <a:gd name="connsiteY1" fmla="*/ 890388 h 3622164"/>
              <a:gd name="connsiteX2" fmla="*/ 768663 w 4745933"/>
              <a:gd name="connsiteY2" fmla="*/ 334895 h 3622164"/>
              <a:gd name="connsiteX3" fmla="*/ 940113 w 4745933"/>
              <a:gd name="connsiteY3" fmla="*/ 0 h 3622164"/>
              <a:gd name="connsiteX4" fmla="*/ 4707604 w 4745933"/>
              <a:gd name="connsiteY4" fmla="*/ 16763 h 3622164"/>
              <a:gd name="connsiteX5" fmla="*/ 4745933 w 4745933"/>
              <a:gd name="connsiteY5" fmla="*/ 3622164 h 3622164"/>
              <a:gd name="connsiteX6" fmla="*/ 3946294 w 4745933"/>
              <a:gd name="connsiteY6" fmla="*/ 3308291 h 3622164"/>
              <a:gd name="connsiteX7" fmla="*/ 3225881 w 4745933"/>
              <a:gd name="connsiteY7" fmla="*/ 2986999 h 3622164"/>
              <a:gd name="connsiteX8" fmla="*/ 2305049 w 4745933"/>
              <a:gd name="connsiteY8" fmla="*/ 2485647 h 3622164"/>
              <a:gd name="connsiteX9" fmla="*/ 1505644 w 4745933"/>
              <a:gd name="connsiteY9" fmla="*/ 2053592 h 3622164"/>
              <a:gd name="connsiteX10" fmla="*/ 816942 w 4745933"/>
              <a:gd name="connsiteY10" fmla="*/ 1823848 h 3622164"/>
              <a:gd name="connsiteX11" fmla="*/ 164868 w 4745933"/>
              <a:gd name="connsiteY11" fmla="*/ 1750313 h 3622164"/>
              <a:gd name="connsiteX12" fmla="*/ 0 w 4745933"/>
              <a:gd name="connsiteY12" fmla="*/ 1757551 h 3622164"/>
              <a:gd name="connsiteX0" fmla="*/ 0 w 4745933"/>
              <a:gd name="connsiteY0" fmla="*/ 1757551 h 3622164"/>
              <a:gd name="connsiteX1" fmla="*/ 501227 w 4745933"/>
              <a:gd name="connsiteY1" fmla="*/ 890388 h 3622164"/>
              <a:gd name="connsiteX2" fmla="*/ 768663 w 4745933"/>
              <a:gd name="connsiteY2" fmla="*/ 334895 h 3622164"/>
              <a:gd name="connsiteX3" fmla="*/ 940113 w 4745933"/>
              <a:gd name="connsiteY3" fmla="*/ 0 h 3622164"/>
              <a:gd name="connsiteX4" fmla="*/ 4707604 w 4745933"/>
              <a:gd name="connsiteY4" fmla="*/ 16763 h 3622164"/>
              <a:gd name="connsiteX5" fmla="*/ 4745933 w 4745933"/>
              <a:gd name="connsiteY5" fmla="*/ 3622164 h 3622164"/>
              <a:gd name="connsiteX6" fmla="*/ 3946294 w 4745933"/>
              <a:gd name="connsiteY6" fmla="*/ 3308291 h 3622164"/>
              <a:gd name="connsiteX7" fmla="*/ 3225881 w 4745933"/>
              <a:gd name="connsiteY7" fmla="*/ 2986999 h 3622164"/>
              <a:gd name="connsiteX8" fmla="*/ 2305049 w 4745933"/>
              <a:gd name="connsiteY8" fmla="*/ 2485647 h 3622164"/>
              <a:gd name="connsiteX9" fmla="*/ 1461698 w 4745933"/>
              <a:gd name="connsiteY9" fmla="*/ 2003303 h 3622164"/>
              <a:gd name="connsiteX10" fmla="*/ 816942 w 4745933"/>
              <a:gd name="connsiteY10" fmla="*/ 1823848 h 3622164"/>
              <a:gd name="connsiteX11" fmla="*/ 164868 w 4745933"/>
              <a:gd name="connsiteY11" fmla="*/ 1750313 h 3622164"/>
              <a:gd name="connsiteX12" fmla="*/ 0 w 4745933"/>
              <a:gd name="connsiteY12" fmla="*/ 1757551 h 3622164"/>
              <a:gd name="connsiteX0" fmla="*/ 0 w 4745933"/>
              <a:gd name="connsiteY0" fmla="*/ 1757551 h 3622164"/>
              <a:gd name="connsiteX1" fmla="*/ 501227 w 4745933"/>
              <a:gd name="connsiteY1" fmla="*/ 890388 h 3622164"/>
              <a:gd name="connsiteX2" fmla="*/ 768663 w 4745933"/>
              <a:gd name="connsiteY2" fmla="*/ 334895 h 3622164"/>
              <a:gd name="connsiteX3" fmla="*/ 940113 w 4745933"/>
              <a:gd name="connsiteY3" fmla="*/ 0 h 3622164"/>
              <a:gd name="connsiteX4" fmla="*/ 4707604 w 4745933"/>
              <a:gd name="connsiteY4" fmla="*/ 16763 h 3622164"/>
              <a:gd name="connsiteX5" fmla="*/ 4745933 w 4745933"/>
              <a:gd name="connsiteY5" fmla="*/ 3622164 h 3622164"/>
              <a:gd name="connsiteX6" fmla="*/ 3946294 w 4745933"/>
              <a:gd name="connsiteY6" fmla="*/ 3308291 h 3622164"/>
              <a:gd name="connsiteX7" fmla="*/ 3225881 w 4745933"/>
              <a:gd name="connsiteY7" fmla="*/ 2986999 h 3622164"/>
              <a:gd name="connsiteX8" fmla="*/ 2305049 w 4745933"/>
              <a:gd name="connsiteY8" fmla="*/ 2485647 h 3622164"/>
              <a:gd name="connsiteX9" fmla="*/ 1461698 w 4745933"/>
              <a:gd name="connsiteY9" fmla="*/ 2003303 h 3622164"/>
              <a:gd name="connsiteX10" fmla="*/ 816942 w 4745933"/>
              <a:gd name="connsiteY10" fmla="*/ 1823848 h 3622164"/>
              <a:gd name="connsiteX11" fmla="*/ 164868 w 4745933"/>
              <a:gd name="connsiteY11" fmla="*/ 1750313 h 3622164"/>
              <a:gd name="connsiteX12" fmla="*/ 0 w 4745933"/>
              <a:gd name="connsiteY12" fmla="*/ 1757551 h 3622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45933" h="3622164">
                <a:moveTo>
                  <a:pt x="0" y="1757551"/>
                </a:moveTo>
                <a:lnTo>
                  <a:pt x="501227" y="890388"/>
                </a:lnTo>
                <a:lnTo>
                  <a:pt x="768663" y="334895"/>
                </a:lnTo>
                <a:lnTo>
                  <a:pt x="940113" y="0"/>
                </a:lnTo>
                <a:lnTo>
                  <a:pt x="4707604" y="16763"/>
                </a:lnTo>
                <a:lnTo>
                  <a:pt x="4745933" y="3622164"/>
                </a:lnTo>
                <a:cubicBezTo>
                  <a:pt x="4479388" y="3551066"/>
                  <a:pt x="4212840" y="3412915"/>
                  <a:pt x="3946294" y="3308291"/>
                </a:cubicBezTo>
                <a:cubicBezTo>
                  <a:pt x="3720001" y="3217116"/>
                  <a:pt x="3542168" y="3078174"/>
                  <a:pt x="3225881" y="2986999"/>
                </a:cubicBezTo>
                <a:lnTo>
                  <a:pt x="2305049" y="2485647"/>
                </a:lnTo>
                <a:lnTo>
                  <a:pt x="1461698" y="2003303"/>
                </a:lnTo>
                <a:cubicBezTo>
                  <a:pt x="1246779" y="1909959"/>
                  <a:pt x="1031861" y="1883666"/>
                  <a:pt x="816942" y="1823848"/>
                </a:cubicBezTo>
                <a:lnTo>
                  <a:pt x="164868" y="1750313"/>
                </a:lnTo>
                <a:lnTo>
                  <a:pt x="0" y="1757551"/>
                </a:lnTo>
                <a:close/>
              </a:path>
            </a:pathLst>
          </a:custGeom>
          <a:pattFill prst="wdDnDiag">
            <a:fgClr>
              <a:schemeClr val="tx1"/>
            </a:fgClr>
            <a:bgClr>
              <a:schemeClr val="bg1"/>
            </a:bgClr>
          </a:patt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21D705A1-FBA2-6ADE-D0EC-0F0560803B55}"/>
              </a:ext>
            </a:extLst>
          </p:cNvPr>
          <p:cNvSpPr/>
          <p:nvPr/>
        </p:nvSpPr>
        <p:spPr>
          <a:xfrm>
            <a:off x="5034341" y="1802556"/>
            <a:ext cx="3048678" cy="2929226"/>
          </a:xfrm>
          <a:custGeom>
            <a:avLst/>
            <a:gdLst>
              <a:gd name="connsiteX0" fmla="*/ 0 w 3600450"/>
              <a:gd name="connsiteY0" fmla="*/ 9525 h 3600450"/>
              <a:gd name="connsiteX1" fmla="*/ 0 w 3600450"/>
              <a:gd name="connsiteY1" fmla="*/ 1990725 h 3600450"/>
              <a:gd name="connsiteX2" fmla="*/ 704850 w 3600450"/>
              <a:gd name="connsiteY2" fmla="*/ 2352675 h 3600450"/>
              <a:gd name="connsiteX3" fmla="*/ 1123950 w 3600450"/>
              <a:gd name="connsiteY3" fmla="*/ 2571750 h 3600450"/>
              <a:gd name="connsiteX4" fmla="*/ 2105025 w 3600450"/>
              <a:gd name="connsiteY4" fmla="*/ 3019425 h 3600450"/>
              <a:gd name="connsiteX5" fmla="*/ 3009900 w 3600450"/>
              <a:gd name="connsiteY5" fmla="*/ 3390900 h 3600450"/>
              <a:gd name="connsiteX6" fmla="*/ 3600450 w 3600450"/>
              <a:gd name="connsiteY6" fmla="*/ 3600450 h 3600450"/>
              <a:gd name="connsiteX7" fmla="*/ 3581400 w 3600450"/>
              <a:gd name="connsiteY7" fmla="*/ 0 h 3600450"/>
              <a:gd name="connsiteX8" fmla="*/ 0 w 3600450"/>
              <a:gd name="connsiteY8" fmla="*/ 9525 h 360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00450" h="3600450">
                <a:moveTo>
                  <a:pt x="0" y="9525"/>
                </a:moveTo>
                <a:lnTo>
                  <a:pt x="0" y="1990725"/>
                </a:lnTo>
                <a:lnTo>
                  <a:pt x="704850" y="2352675"/>
                </a:lnTo>
                <a:lnTo>
                  <a:pt x="1123950" y="2571750"/>
                </a:lnTo>
                <a:lnTo>
                  <a:pt x="2105025" y="3019425"/>
                </a:lnTo>
                <a:lnTo>
                  <a:pt x="3009900" y="3390900"/>
                </a:lnTo>
                <a:lnTo>
                  <a:pt x="3600450" y="3600450"/>
                </a:lnTo>
                <a:lnTo>
                  <a:pt x="3581400" y="0"/>
                </a:lnTo>
                <a:lnTo>
                  <a:pt x="0" y="9525"/>
                </a:lnTo>
                <a:close/>
              </a:path>
            </a:pathLst>
          </a:custGeom>
          <a:noFill/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B3B0A72-DB62-3722-D0E5-B74A131F7F1D}"/>
              </a:ext>
            </a:extLst>
          </p:cNvPr>
          <p:cNvSpPr txBox="1"/>
          <p:nvPr/>
        </p:nvSpPr>
        <p:spPr>
          <a:xfrm>
            <a:off x="5778604" y="3009158"/>
            <a:ext cx="1805080" cy="24842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Benchmark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936776DD-2454-2668-E210-5DF48E96C382}"/>
              </a:ext>
            </a:extLst>
          </p:cNvPr>
          <p:cNvSpPr/>
          <p:nvPr/>
        </p:nvSpPr>
        <p:spPr>
          <a:xfrm>
            <a:off x="1647438" y="3161297"/>
            <a:ext cx="6455098" cy="2784462"/>
          </a:xfrm>
          <a:custGeom>
            <a:avLst/>
            <a:gdLst>
              <a:gd name="connsiteX0" fmla="*/ 584791 w 5332228"/>
              <a:gd name="connsiteY0" fmla="*/ 0 h 3530009"/>
              <a:gd name="connsiteX1" fmla="*/ 457200 w 5332228"/>
              <a:gd name="connsiteY1" fmla="*/ 202018 h 3530009"/>
              <a:gd name="connsiteX2" fmla="*/ 345558 w 5332228"/>
              <a:gd name="connsiteY2" fmla="*/ 409353 h 3530009"/>
              <a:gd name="connsiteX3" fmla="*/ 233917 w 5332228"/>
              <a:gd name="connsiteY3" fmla="*/ 637953 h 3530009"/>
              <a:gd name="connsiteX4" fmla="*/ 138224 w 5332228"/>
              <a:gd name="connsiteY4" fmla="*/ 845288 h 3530009"/>
              <a:gd name="connsiteX5" fmla="*/ 47847 w 5332228"/>
              <a:gd name="connsiteY5" fmla="*/ 1190846 h 3530009"/>
              <a:gd name="connsiteX6" fmla="*/ 26582 w 5332228"/>
              <a:gd name="connsiteY6" fmla="*/ 1376916 h 3530009"/>
              <a:gd name="connsiteX7" fmla="*/ 0 w 5332228"/>
              <a:gd name="connsiteY7" fmla="*/ 1594883 h 3530009"/>
              <a:gd name="connsiteX8" fmla="*/ 15949 w 5332228"/>
              <a:gd name="connsiteY8" fmla="*/ 1775637 h 3530009"/>
              <a:gd name="connsiteX9" fmla="*/ 31898 w 5332228"/>
              <a:gd name="connsiteY9" fmla="*/ 2014869 h 3530009"/>
              <a:gd name="connsiteX10" fmla="*/ 47847 w 5332228"/>
              <a:gd name="connsiteY10" fmla="*/ 2089297 h 3530009"/>
              <a:gd name="connsiteX11" fmla="*/ 47847 w 5332228"/>
              <a:gd name="connsiteY11" fmla="*/ 3519376 h 3530009"/>
              <a:gd name="connsiteX12" fmla="*/ 5332228 w 5332228"/>
              <a:gd name="connsiteY12" fmla="*/ 3530009 h 3530009"/>
              <a:gd name="connsiteX13" fmla="*/ 5310963 w 5332228"/>
              <a:gd name="connsiteY13" fmla="*/ 1839432 h 3530009"/>
              <a:gd name="connsiteX14" fmla="*/ 4848447 w 5332228"/>
              <a:gd name="connsiteY14" fmla="*/ 1685260 h 3530009"/>
              <a:gd name="connsiteX15" fmla="*/ 4295554 w 5332228"/>
              <a:gd name="connsiteY15" fmla="*/ 1467293 h 3530009"/>
              <a:gd name="connsiteX16" fmla="*/ 3918098 w 5332228"/>
              <a:gd name="connsiteY16" fmla="*/ 1307804 h 3530009"/>
              <a:gd name="connsiteX17" fmla="*/ 3413051 w 5332228"/>
              <a:gd name="connsiteY17" fmla="*/ 1095153 h 3530009"/>
              <a:gd name="connsiteX18" fmla="*/ 3094075 w 5332228"/>
              <a:gd name="connsiteY18" fmla="*/ 935665 h 3530009"/>
              <a:gd name="connsiteX19" fmla="*/ 2780414 w 5332228"/>
              <a:gd name="connsiteY19" fmla="*/ 792125 h 3530009"/>
              <a:gd name="connsiteX20" fmla="*/ 2089298 w 5332228"/>
              <a:gd name="connsiteY20" fmla="*/ 419986 h 3530009"/>
              <a:gd name="connsiteX21" fmla="*/ 1823484 w 5332228"/>
              <a:gd name="connsiteY21" fmla="*/ 276446 h 3530009"/>
              <a:gd name="connsiteX22" fmla="*/ 1562986 w 5332228"/>
              <a:gd name="connsiteY22" fmla="*/ 170121 h 3530009"/>
              <a:gd name="connsiteX23" fmla="*/ 1244010 w 5332228"/>
              <a:gd name="connsiteY23" fmla="*/ 90376 h 3530009"/>
              <a:gd name="connsiteX24" fmla="*/ 962247 w 5332228"/>
              <a:gd name="connsiteY24" fmla="*/ 42530 h 3530009"/>
              <a:gd name="connsiteX25" fmla="*/ 584791 w 5332228"/>
              <a:gd name="connsiteY25" fmla="*/ 0 h 3530009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2292972 w 7598618"/>
              <a:gd name="connsiteY6" fmla="*/ 1376916 h 3543230"/>
              <a:gd name="connsiteX7" fmla="*/ 2266390 w 7598618"/>
              <a:gd name="connsiteY7" fmla="*/ 1594883 h 3543230"/>
              <a:gd name="connsiteX8" fmla="*/ 2282339 w 7598618"/>
              <a:gd name="connsiteY8" fmla="*/ 1775637 h 3543230"/>
              <a:gd name="connsiteX9" fmla="*/ 2298288 w 7598618"/>
              <a:gd name="connsiteY9" fmla="*/ 2014869 h 3543230"/>
              <a:gd name="connsiteX10" fmla="*/ 2314237 w 7598618"/>
              <a:gd name="connsiteY10" fmla="*/ 2089297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2292972 w 7598618"/>
              <a:gd name="connsiteY6" fmla="*/ 1376916 h 3543230"/>
              <a:gd name="connsiteX7" fmla="*/ 2266390 w 7598618"/>
              <a:gd name="connsiteY7" fmla="*/ 1594883 h 3543230"/>
              <a:gd name="connsiteX8" fmla="*/ 2282339 w 7598618"/>
              <a:gd name="connsiteY8" fmla="*/ 1775637 h 3543230"/>
              <a:gd name="connsiteX9" fmla="*/ 2298288 w 7598618"/>
              <a:gd name="connsiteY9" fmla="*/ 2014869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2292972 w 7598618"/>
              <a:gd name="connsiteY6" fmla="*/ 1376916 h 3543230"/>
              <a:gd name="connsiteX7" fmla="*/ 2266390 w 7598618"/>
              <a:gd name="connsiteY7" fmla="*/ 1594883 h 3543230"/>
              <a:gd name="connsiteX8" fmla="*/ 2282339 w 7598618"/>
              <a:gd name="connsiteY8" fmla="*/ 1775637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2292972 w 7598618"/>
              <a:gd name="connsiteY6" fmla="*/ 1376916 h 3543230"/>
              <a:gd name="connsiteX7" fmla="*/ 2266390 w 7598618"/>
              <a:gd name="connsiteY7" fmla="*/ 1594883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2292972 w 7598618"/>
              <a:gd name="connsiteY6" fmla="*/ 1376916 h 3543230"/>
              <a:gd name="connsiteX7" fmla="*/ 594115 w 7598618"/>
              <a:gd name="connsiteY7" fmla="*/ 521457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2314237 w 7598618"/>
              <a:gd name="connsiteY5" fmla="*/ 1190846 h 3543230"/>
              <a:gd name="connsiteX6" fmla="*/ 993196 w 7598618"/>
              <a:gd name="connsiteY6" fmla="*/ 343246 h 3543230"/>
              <a:gd name="connsiteX7" fmla="*/ 594115 w 7598618"/>
              <a:gd name="connsiteY7" fmla="*/ 521457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2404614 w 7598618"/>
              <a:gd name="connsiteY4" fmla="*/ 845288 h 3543230"/>
              <a:gd name="connsiteX5" fmla="*/ 1577169 w 7598618"/>
              <a:gd name="connsiteY5" fmla="*/ 149225 h 3543230"/>
              <a:gd name="connsiteX6" fmla="*/ 993196 w 7598618"/>
              <a:gd name="connsiteY6" fmla="*/ 343246 h 3543230"/>
              <a:gd name="connsiteX7" fmla="*/ 594115 w 7598618"/>
              <a:gd name="connsiteY7" fmla="*/ 521457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500307 w 7598618"/>
              <a:gd name="connsiteY3" fmla="*/ 637953 h 3543230"/>
              <a:gd name="connsiteX4" fmla="*/ 1833980 w 7598618"/>
              <a:gd name="connsiteY4" fmla="*/ 97866 h 3543230"/>
              <a:gd name="connsiteX5" fmla="*/ 1577169 w 7598618"/>
              <a:gd name="connsiteY5" fmla="*/ 149225 h 3543230"/>
              <a:gd name="connsiteX6" fmla="*/ 993196 w 7598618"/>
              <a:gd name="connsiteY6" fmla="*/ 343246 h 3543230"/>
              <a:gd name="connsiteX7" fmla="*/ 594115 w 7598618"/>
              <a:gd name="connsiteY7" fmla="*/ 521457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0 h 3543230"/>
              <a:gd name="connsiteX1" fmla="*/ 2723590 w 7598618"/>
              <a:gd name="connsiteY1" fmla="*/ 202018 h 3543230"/>
              <a:gd name="connsiteX2" fmla="*/ 2611948 w 7598618"/>
              <a:gd name="connsiteY2" fmla="*/ 409353 h 3543230"/>
              <a:gd name="connsiteX3" fmla="*/ 2119884 w 7598618"/>
              <a:gd name="connsiteY3" fmla="*/ 57508 h 3543230"/>
              <a:gd name="connsiteX4" fmla="*/ 1833980 w 7598618"/>
              <a:gd name="connsiteY4" fmla="*/ 97866 h 3543230"/>
              <a:gd name="connsiteX5" fmla="*/ 1577169 w 7598618"/>
              <a:gd name="connsiteY5" fmla="*/ 149225 h 3543230"/>
              <a:gd name="connsiteX6" fmla="*/ 993196 w 7598618"/>
              <a:gd name="connsiteY6" fmla="*/ 343246 h 3543230"/>
              <a:gd name="connsiteX7" fmla="*/ 594115 w 7598618"/>
              <a:gd name="connsiteY7" fmla="*/ 521457 h 3543230"/>
              <a:gd name="connsiteX8" fmla="*/ 253419 w 7598618"/>
              <a:gd name="connsiteY8" fmla="*/ 781724 h 3543230"/>
              <a:gd name="connsiteX9" fmla="*/ 55379 w 7598618"/>
              <a:gd name="connsiteY9" fmla="*/ 1044810 h 3543230"/>
              <a:gd name="connsiteX10" fmla="*/ 7925 w 7598618"/>
              <a:gd name="connsiteY10" fmla="*/ 1341874 h 3543230"/>
              <a:gd name="connsiteX11" fmla="*/ 0 w 7598618"/>
              <a:gd name="connsiteY11" fmla="*/ 3543230 h 3543230"/>
              <a:gd name="connsiteX12" fmla="*/ 7598618 w 7598618"/>
              <a:gd name="connsiteY12" fmla="*/ 3530009 h 3543230"/>
              <a:gd name="connsiteX13" fmla="*/ 7577353 w 7598618"/>
              <a:gd name="connsiteY13" fmla="*/ 1839432 h 3543230"/>
              <a:gd name="connsiteX14" fmla="*/ 7114837 w 7598618"/>
              <a:gd name="connsiteY14" fmla="*/ 1685260 h 3543230"/>
              <a:gd name="connsiteX15" fmla="*/ 6561944 w 7598618"/>
              <a:gd name="connsiteY15" fmla="*/ 1467293 h 3543230"/>
              <a:gd name="connsiteX16" fmla="*/ 6184488 w 7598618"/>
              <a:gd name="connsiteY16" fmla="*/ 1307804 h 3543230"/>
              <a:gd name="connsiteX17" fmla="*/ 5679441 w 7598618"/>
              <a:gd name="connsiteY17" fmla="*/ 1095153 h 3543230"/>
              <a:gd name="connsiteX18" fmla="*/ 5360465 w 7598618"/>
              <a:gd name="connsiteY18" fmla="*/ 935665 h 3543230"/>
              <a:gd name="connsiteX19" fmla="*/ 5046804 w 7598618"/>
              <a:gd name="connsiteY19" fmla="*/ 792125 h 3543230"/>
              <a:gd name="connsiteX20" fmla="*/ 4355688 w 7598618"/>
              <a:gd name="connsiteY20" fmla="*/ 419986 h 3543230"/>
              <a:gd name="connsiteX21" fmla="*/ 4089874 w 7598618"/>
              <a:gd name="connsiteY21" fmla="*/ 276446 h 3543230"/>
              <a:gd name="connsiteX22" fmla="*/ 3829376 w 7598618"/>
              <a:gd name="connsiteY22" fmla="*/ 170121 h 3543230"/>
              <a:gd name="connsiteX23" fmla="*/ 3510400 w 7598618"/>
              <a:gd name="connsiteY23" fmla="*/ 90376 h 3543230"/>
              <a:gd name="connsiteX24" fmla="*/ 3228637 w 7598618"/>
              <a:gd name="connsiteY24" fmla="*/ 42530 h 3543230"/>
              <a:gd name="connsiteX25" fmla="*/ 2851181 w 7598618"/>
              <a:gd name="connsiteY25" fmla="*/ 0 h 3543230"/>
              <a:gd name="connsiteX0" fmla="*/ 2851181 w 7598618"/>
              <a:gd name="connsiteY0" fmla="*/ 4115 h 3547345"/>
              <a:gd name="connsiteX1" fmla="*/ 2723590 w 7598618"/>
              <a:gd name="connsiteY1" fmla="*/ 206133 h 3547345"/>
              <a:gd name="connsiteX2" fmla="*/ 2382109 w 7598618"/>
              <a:gd name="connsiteY2" fmla="*/ 0 h 3547345"/>
              <a:gd name="connsiteX3" fmla="*/ 2119884 w 7598618"/>
              <a:gd name="connsiteY3" fmla="*/ 61623 h 3547345"/>
              <a:gd name="connsiteX4" fmla="*/ 1833980 w 7598618"/>
              <a:gd name="connsiteY4" fmla="*/ 101981 h 3547345"/>
              <a:gd name="connsiteX5" fmla="*/ 1577169 w 7598618"/>
              <a:gd name="connsiteY5" fmla="*/ 153340 h 3547345"/>
              <a:gd name="connsiteX6" fmla="*/ 993196 w 7598618"/>
              <a:gd name="connsiteY6" fmla="*/ 347361 h 3547345"/>
              <a:gd name="connsiteX7" fmla="*/ 594115 w 7598618"/>
              <a:gd name="connsiteY7" fmla="*/ 525572 h 3547345"/>
              <a:gd name="connsiteX8" fmla="*/ 253419 w 7598618"/>
              <a:gd name="connsiteY8" fmla="*/ 785839 h 3547345"/>
              <a:gd name="connsiteX9" fmla="*/ 55379 w 7598618"/>
              <a:gd name="connsiteY9" fmla="*/ 1048925 h 3547345"/>
              <a:gd name="connsiteX10" fmla="*/ 7925 w 7598618"/>
              <a:gd name="connsiteY10" fmla="*/ 1345989 h 3547345"/>
              <a:gd name="connsiteX11" fmla="*/ 0 w 7598618"/>
              <a:gd name="connsiteY11" fmla="*/ 3547345 h 3547345"/>
              <a:gd name="connsiteX12" fmla="*/ 7598618 w 7598618"/>
              <a:gd name="connsiteY12" fmla="*/ 3534124 h 3547345"/>
              <a:gd name="connsiteX13" fmla="*/ 7577353 w 7598618"/>
              <a:gd name="connsiteY13" fmla="*/ 1843547 h 3547345"/>
              <a:gd name="connsiteX14" fmla="*/ 7114837 w 7598618"/>
              <a:gd name="connsiteY14" fmla="*/ 1689375 h 3547345"/>
              <a:gd name="connsiteX15" fmla="*/ 6561944 w 7598618"/>
              <a:gd name="connsiteY15" fmla="*/ 1471408 h 3547345"/>
              <a:gd name="connsiteX16" fmla="*/ 6184488 w 7598618"/>
              <a:gd name="connsiteY16" fmla="*/ 1311919 h 3547345"/>
              <a:gd name="connsiteX17" fmla="*/ 5679441 w 7598618"/>
              <a:gd name="connsiteY17" fmla="*/ 1099268 h 3547345"/>
              <a:gd name="connsiteX18" fmla="*/ 5360465 w 7598618"/>
              <a:gd name="connsiteY18" fmla="*/ 939780 h 3547345"/>
              <a:gd name="connsiteX19" fmla="*/ 5046804 w 7598618"/>
              <a:gd name="connsiteY19" fmla="*/ 796240 h 3547345"/>
              <a:gd name="connsiteX20" fmla="*/ 4355688 w 7598618"/>
              <a:gd name="connsiteY20" fmla="*/ 424101 h 3547345"/>
              <a:gd name="connsiteX21" fmla="*/ 4089874 w 7598618"/>
              <a:gd name="connsiteY21" fmla="*/ 280561 h 3547345"/>
              <a:gd name="connsiteX22" fmla="*/ 3829376 w 7598618"/>
              <a:gd name="connsiteY22" fmla="*/ 174236 h 3547345"/>
              <a:gd name="connsiteX23" fmla="*/ 3510400 w 7598618"/>
              <a:gd name="connsiteY23" fmla="*/ 94491 h 3547345"/>
              <a:gd name="connsiteX24" fmla="*/ 3228637 w 7598618"/>
              <a:gd name="connsiteY24" fmla="*/ 46645 h 3547345"/>
              <a:gd name="connsiteX25" fmla="*/ 2851181 w 7598618"/>
              <a:gd name="connsiteY25" fmla="*/ 4115 h 3547345"/>
              <a:gd name="connsiteX0" fmla="*/ 2851181 w 7598618"/>
              <a:gd name="connsiteY0" fmla="*/ 12667 h 3555897"/>
              <a:gd name="connsiteX1" fmla="*/ 2668112 w 7598618"/>
              <a:gd name="connsiteY1" fmla="*/ 0 h 3555897"/>
              <a:gd name="connsiteX2" fmla="*/ 2382109 w 7598618"/>
              <a:gd name="connsiteY2" fmla="*/ 8552 h 3555897"/>
              <a:gd name="connsiteX3" fmla="*/ 2119884 w 7598618"/>
              <a:gd name="connsiteY3" fmla="*/ 70175 h 3555897"/>
              <a:gd name="connsiteX4" fmla="*/ 1833980 w 7598618"/>
              <a:gd name="connsiteY4" fmla="*/ 110533 h 3555897"/>
              <a:gd name="connsiteX5" fmla="*/ 1577169 w 7598618"/>
              <a:gd name="connsiteY5" fmla="*/ 161892 h 3555897"/>
              <a:gd name="connsiteX6" fmla="*/ 993196 w 7598618"/>
              <a:gd name="connsiteY6" fmla="*/ 355913 h 3555897"/>
              <a:gd name="connsiteX7" fmla="*/ 594115 w 7598618"/>
              <a:gd name="connsiteY7" fmla="*/ 534124 h 3555897"/>
              <a:gd name="connsiteX8" fmla="*/ 253419 w 7598618"/>
              <a:gd name="connsiteY8" fmla="*/ 794391 h 3555897"/>
              <a:gd name="connsiteX9" fmla="*/ 55379 w 7598618"/>
              <a:gd name="connsiteY9" fmla="*/ 1057477 h 3555897"/>
              <a:gd name="connsiteX10" fmla="*/ 7925 w 7598618"/>
              <a:gd name="connsiteY10" fmla="*/ 1354541 h 3555897"/>
              <a:gd name="connsiteX11" fmla="*/ 0 w 7598618"/>
              <a:gd name="connsiteY11" fmla="*/ 3555897 h 3555897"/>
              <a:gd name="connsiteX12" fmla="*/ 7598618 w 7598618"/>
              <a:gd name="connsiteY12" fmla="*/ 3542676 h 3555897"/>
              <a:gd name="connsiteX13" fmla="*/ 7577353 w 7598618"/>
              <a:gd name="connsiteY13" fmla="*/ 1852099 h 3555897"/>
              <a:gd name="connsiteX14" fmla="*/ 7114837 w 7598618"/>
              <a:gd name="connsiteY14" fmla="*/ 1697927 h 3555897"/>
              <a:gd name="connsiteX15" fmla="*/ 6561944 w 7598618"/>
              <a:gd name="connsiteY15" fmla="*/ 1479960 h 3555897"/>
              <a:gd name="connsiteX16" fmla="*/ 6184488 w 7598618"/>
              <a:gd name="connsiteY16" fmla="*/ 1320471 h 3555897"/>
              <a:gd name="connsiteX17" fmla="*/ 5679441 w 7598618"/>
              <a:gd name="connsiteY17" fmla="*/ 1107820 h 3555897"/>
              <a:gd name="connsiteX18" fmla="*/ 5360465 w 7598618"/>
              <a:gd name="connsiteY18" fmla="*/ 948332 h 3555897"/>
              <a:gd name="connsiteX19" fmla="*/ 5046804 w 7598618"/>
              <a:gd name="connsiteY19" fmla="*/ 804792 h 3555897"/>
              <a:gd name="connsiteX20" fmla="*/ 4355688 w 7598618"/>
              <a:gd name="connsiteY20" fmla="*/ 432653 h 3555897"/>
              <a:gd name="connsiteX21" fmla="*/ 4089874 w 7598618"/>
              <a:gd name="connsiteY21" fmla="*/ 289113 h 3555897"/>
              <a:gd name="connsiteX22" fmla="*/ 3829376 w 7598618"/>
              <a:gd name="connsiteY22" fmla="*/ 182788 h 3555897"/>
              <a:gd name="connsiteX23" fmla="*/ 3510400 w 7598618"/>
              <a:gd name="connsiteY23" fmla="*/ 103043 h 3555897"/>
              <a:gd name="connsiteX24" fmla="*/ 3228637 w 7598618"/>
              <a:gd name="connsiteY24" fmla="*/ 55197 h 3555897"/>
              <a:gd name="connsiteX25" fmla="*/ 2851181 w 7598618"/>
              <a:gd name="connsiteY25" fmla="*/ 12667 h 3555897"/>
              <a:gd name="connsiteX0" fmla="*/ 2851181 w 7598618"/>
              <a:gd name="connsiteY0" fmla="*/ 12667 h 3555897"/>
              <a:gd name="connsiteX1" fmla="*/ 2668112 w 7598618"/>
              <a:gd name="connsiteY1" fmla="*/ 0 h 3555897"/>
              <a:gd name="connsiteX2" fmla="*/ 2382109 w 7598618"/>
              <a:gd name="connsiteY2" fmla="*/ 8552 h 3555897"/>
              <a:gd name="connsiteX3" fmla="*/ 2111958 w 7598618"/>
              <a:gd name="connsiteY3" fmla="*/ 46322 h 3555897"/>
              <a:gd name="connsiteX4" fmla="*/ 1833980 w 7598618"/>
              <a:gd name="connsiteY4" fmla="*/ 110533 h 3555897"/>
              <a:gd name="connsiteX5" fmla="*/ 1577169 w 7598618"/>
              <a:gd name="connsiteY5" fmla="*/ 161892 h 3555897"/>
              <a:gd name="connsiteX6" fmla="*/ 993196 w 7598618"/>
              <a:gd name="connsiteY6" fmla="*/ 355913 h 3555897"/>
              <a:gd name="connsiteX7" fmla="*/ 594115 w 7598618"/>
              <a:gd name="connsiteY7" fmla="*/ 534124 h 3555897"/>
              <a:gd name="connsiteX8" fmla="*/ 253419 w 7598618"/>
              <a:gd name="connsiteY8" fmla="*/ 794391 h 3555897"/>
              <a:gd name="connsiteX9" fmla="*/ 55379 w 7598618"/>
              <a:gd name="connsiteY9" fmla="*/ 1057477 h 3555897"/>
              <a:gd name="connsiteX10" fmla="*/ 7925 w 7598618"/>
              <a:gd name="connsiteY10" fmla="*/ 1354541 h 3555897"/>
              <a:gd name="connsiteX11" fmla="*/ 0 w 7598618"/>
              <a:gd name="connsiteY11" fmla="*/ 3555897 h 3555897"/>
              <a:gd name="connsiteX12" fmla="*/ 7598618 w 7598618"/>
              <a:gd name="connsiteY12" fmla="*/ 3542676 h 3555897"/>
              <a:gd name="connsiteX13" fmla="*/ 7577353 w 7598618"/>
              <a:gd name="connsiteY13" fmla="*/ 1852099 h 3555897"/>
              <a:gd name="connsiteX14" fmla="*/ 7114837 w 7598618"/>
              <a:gd name="connsiteY14" fmla="*/ 1697927 h 3555897"/>
              <a:gd name="connsiteX15" fmla="*/ 6561944 w 7598618"/>
              <a:gd name="connsiteY15" fmla="*/ 1479960 h 3555897"/>
              <a:gd name="connsiteX16" fmla="*/ 6184488 w 7598618"/>
              <a:gd name="connsiteY16" fmla="*/ 1320471 h 3555897"/>
              <a:gd name="connsiteX17" fmla="*/ 5679441 w 7598618"/>
              <a:gd name="connsiteY17" fmla="*/ 1107820 h 3555897"/>
              <a:gd name="connsiteX18" fmla="*/ 5360465 w 7598618"/>
              <a:gd name="connsiteY18" fmla="*/ 948332 h 3555897"/>
              <a:gd name="connsiteX19" fmla="*/ 5046804 w 7598618"/>
              <a:gd name="connsiteY19" fmla="*/ 804792 h 3555897"/>
              <a:gd name="connsiteX20" fmla="*/ 4355688 w 7598618"/>
              <a:gd name="connsiteY20" fmla="*/ 432653 h 3555897"/>
              <a:gd name="connsiteX21" fmla="*/ 4089874 w 7598618"/>
              <a:gd name="connsiteY21" fmla="*/ 289113 h 3555897"/>
              <a:gd name="connsiteX22" fmla="*/ 3829376 w 7598618"/>
              <a:gd name="connsiteY22" fmla="*/ 182788 h 3555897"/>
              <a:gd name="connsiteX23" fmla="*/ 3510400 w 7598618"/>
              <a:gd name="connsiteY23" fmla="*/ 103043 h 3555897"/>
              <a:gd name="connsiteX24" fmla="*/ 3228637 w 7598618"/>
              <a:gd name="connsiteY24" fmla="*/ 55197 h 3555897"/>
              <a:gd name="connsiteX25" fmla="*/ 2851181 w 7598618"/>
              <a:gd name="connsiteY25" fmla="*/ 12667 h 35558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598618" h="3555897">
                <a:moveTo>
                  <a:pt x="2851181" y="12667"/>
                </a:moveTo>
                <a:lnTo>
                  <a:pt x="2668112" y="0"/>
                </a:lnTo>
                <a:lnTo>
                  <a:pt x="2382109" y="8552"/>
                </a:lnTo>
                <a:lnTo>
                  <a:pt x="2111958" y="46322"/>
                </a:lnTo>
                <a:lnTo>
                  <a:pt x="1833980" y="110533"/>
                </a:lnTo>
                <a:lnTo>
                  <a:pt x="1577169" y="161892"/>
                </a:lnTo>
                <a:lnTo>
                  <a:pt x="993196" y="355913"/>
                </a:lnTo>
                <a:lnTo>
                  <a:pt x="594115" y="534124"/>
                </a:lnTo>
                <a:lnTo>
                  <a:pt x="253419" y="794391"/>
                </a:lnTo>
                <a:lnTo>
                  <a:pt x="55379" y="1057477"/>
                </a:lnTo>
                <a:lnTo>
                  <a:pt x="7925" y="1354541"/>
                </a:lnTo>
                <a:cubicBezTo>
                  <a:pt x="5283" y="2088326"/>
                  <a:pt x="2642" y="2822112"/>
                  <a:pt x="0" y="3555897"/>
                </a:cubicBezTo>
                <a:lnTo>
                  <a:pt x="7598618" y="3542676"/>
                </a:lnTo>
                <a:lnTo>
                  <a:pt x="7577353" y="1852099"/>
                </a:lnTo>
                <a:lnTo>
                  <a:pt x="7114837" y="1697927"/>
                </a:lnTo>
                <a:lnTo>
                  <a:pt x="6561944" y="1479960"/>
                </a:lnTo>
                <a:lnTo>
                  <a:pt x="6184488" y="1320471"/>
                </a:lnTo>
                <a:lnTo>
                  <a:pt x="5679441" y="1107820"/>
                </a:lnTo>
                <a:lnTo>
                  <a:pt x="5360465" y="948332"/>
                </a:lnTo>
                <a:lnTo>
                  <a:pt x="5046804" y="804792"/>
                </a:lnTo>
                <a:lnTo>
                  <a:pt x="4355688" y="432653"/>
                </a:lnTo>
                <a:lnTo>
                  <a:pt x="4089874" y="289113"/>
                </a:lnTo>
                <a:lnTo>
                  <a:pt x="3829376" y="182788"/>
                </a:lnTo>
                <a:lnTo>
                  <a:pt x="3510400" y="103043"/>
                </a:lnTo>
                <a:lnTo>
                  <a:pt x="3228637" y="55197"/>
                </a:lnTo>
                <a:lnTo>
                  <a:pt x="2851181" y="12667"/>
                </a:lnTo>
                <a:close/>
              </a:path>
            </a:pathLst>
          </a:cu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8B0EA724-74B7-529D-937E-A48348A78A8B}"/>
              </a:ext>
            </a:extLst>
          </p:cNvPr>
          <p:cNvSpPr/>
          <p:nvPr/>
        </p:nvSpPr>
        <p:spPr>
          <a:xfrm>
            <a:off x="1669030" y="3209141"/>
            <a:ext cx="1999053" cy="2718877"/>
          </a:xfrm>
          <a:custGeom>
            <a:avLst/>
            <a:gdLst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895475 w 2847975"/>
              <a:gd name="connsiteY8" fmla="*/ 85725 h 3533775"/>
              <a:gd name="connsiteX9" fmla="*/ 1171575 w 2847975"/>
              <a:gd name="connsiteY9" fmla="*/ 276225 h 3533775"/>
              <a:gd name="connsiteX10" fmla="*/ 609600 w 2847975"/>
              <a:gd name="connsiteY10" fmla="*/ 514350 h 3533775"/>
              <a:gd name="connsiteX11" fmla="*/ 238125 w 2847975"/>
              <a:gd name="connsiteY11" fmla="*/ 771525 h 3533775"/>
              <a:gd name="connsiteX12" fmla="*/ 95250 w 2847975"/>
              <a:gd name="connsiteY12" fmla="*/ 990600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895475 w 2847975"/>
              <a:gd name="connsiteY8" fmla="*/ 85725 h 3533775"/>
              <a:gd name="connsiteX9" fmla="*/ 1171575 w 2847975"/>
              <a:gd name="connsiteY9" fmla="*/ 276225 h 3533775"/>
              <a:gd name="connsiteX10" fmla="*/ 609600 w 2847975"/>
              <a:gd name="connsiteY10" fmla="*/ 514350 h 3533775"/>
              <a:gd name="connsiteX11" fmla="*/ 238125 w 2847975"/>
              <a:gd name="connsiteY11" fmla="*/ 771525 h 3533775"/>
              <a:gd name="connsiteX12" fmla="*/ 46083 w 2847975"/>
              <a:gd name="connsiteY12" fmla="*/ 1038416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895475 w 2847975"/>
              <a:gd name="connsiteY8" fmla="*/ 85725 h 3533775"/>
              <a:gd name="connsiteX9" fmla="*/ 1171575 w 2847975"/>
              <a:gd name="connsiteY9" fmla="*/ 276225 h 3533775"/>
              <a:gd name="connsiteX10" fmla="*/ 609600 w 2847975"/>
              <a:gd name="connsiteY10" fmla="*/ 514350 h 3533775"/>
              <a:gd name="connsiteX11" fmla="*/ 287293 w 2847975"/>
              <a:gd name="connsiteY11" fmla="*/ 789456 h 3533775"/>
              <a:gd name="connsiteX12" fmla="*/ 46083 w 2847975"/>
              <a:gd name="connsiteY12" fmla="*/ 1038416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895475 w 2847975"/>
              <a:gd name="connsiteY8" fmla="*/ 85725 h 3533775"/>
              <a:gd name="connsiteX9" fmla="*/ 1171575 w 2847975"/>
              <a:gd name="connsiteY9" fmla="*/ 276225 h 3533775"/>
              <a:gd name="connsiteX10" fmla="*/ 646476 w 2847975"/>
              <a:gd name="connsiteY10" fmla="*/ 526304 h 3533775"/>
              <a:gd name="connsiteX11" fmla="*/ 287293 w 2847975"/>
              <a:gd name="connsiteY11" fmla="*/ 789456 h 3533775"/>
              <a:gd name="connsiteX12" fmla="*/ 46083 w 2847975"/>
              <a:gd name="connsiteY12" fmla="*/ 1038416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895475 w 2847975"/>
              <a:gd name="connsiteY8" fmla="*/ 85725 h 3533775"/>
              <a:gd name="connsiteX9" fmla="*/ 1183867 w 2847975"/>
              <a:gd name="connsiteY9" fmla="*/ 312088 h 3533775"/>
              <a:gd name="connsiteX10" fmla="*/ 646476 w 2847975"/>
              <a:gd name="connsiteY10" fmla="*/ 526304 h 3533775"/>
              <a:gd name="connsiteX11" fmla="*/ 287293 w 2847975"/>
              <a:gd name="connsiteY11" fmla="*/ 789456 h 3533775"/>
              <a:gd name="connsiteX12" fmla="*/ 46083 w 2847975"/>
              <a:gd name="connsiteY12" fmla="*/ 1038416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33775 h 3533775"/>
              <a:gd name="connsiteX1" fmla="*/ 2305050 w 2847975"/>
              <a:gd name="connsiteY1" fmla="*/ 3533775 h 3533775"/>
              <a:gd name="connsiteX2" fmla="*/ 2314575 w 2847975"/>
              <a:gd name="connsiteY2" fmla="*/ 2095500 h 3533775"/>
              <a:gd name="connsiteX3" fmla="*/ 2266950 w 2847975"/>
              <a:gd name="connsiteY3" fmla="*/ 1733550 h 3533775"/>
              <a:gd name="connsiteX4" fmla="*/ 2295525 w 2847975"/>
              <a:gd name="connsiteY4" fmla="*/ 1209675 h 3533775"/>
              <a:gd name="connsiteX5" fmla="*/ 2486025 w 2847975"/>
              <a:gd name="connsiteY5" fmla="*/ 619125 h 3533775"/>
              <a:gd name="connsiteX6" fmla="*/ 2847975 w 2847975"/>
              <a:gd name="connsiteY6" fmla="*/ 9525 h 3533775"/>
              <a:gd name="connsiteX7" fmla="*/ 2438400 w 2847975"/>
              <a:gd name="connsiteY7" fmla="*/ 0 h 3533775"/>
              <a:gd name="connsiteX8" fmla="*/ 1913913 w 2847975"/>
              <a:gd name="connsiteY8" fmla="*/ 103656 h 3533775"/>
              <a:gd name="connsiteX9" fmla="*/ 1183867 w 2847975"/>
              <a:gd name="connsiteY9" fmla="*/ 312088 h 3533775"/>
              <a:gd name="connsiteX10" fmla="*/ 646476 w 2847975"/>
              <a:gd name="connsiteY10" fmla="*/ 526304 h 3533775"/>
              <a:gd name="connsiteX11" fmla="*/ 287293 w 2847975"/>
              <a:gd name="connsiteY11" fmla="*/ 789456 h 3533775"/>
              <a:gd name="connsiteX12" fmla="*/ 46083 w 2847975"/>
              <a:gd name="connsiteY12" fmla="*/ 1038416 h 3533775"/>
              <a:gd name="connsiteX13" fmla="*/ 0 w 2847975"/>
              <a:gd name="connsiteY13" fmla="*/ 1209675 h 3533775"/>
              <a:gd name="connsiteX14" fmla="*/ 0 w 2847975"/>
              <a:gd name="connsiteY14" fmla="*/ 1362075 h 3533775"/>
              <a:gd name="connsiteX15" fmla="*/ 0 w 2847975"/>
              <a:gd name="connsiteY15" fmla="*/ 3533775 h 3533775"/>
              <a:gd name="connsiteX0" fmla="*/ 0 w 2847975"/>
              <a:gd name="connsiteY0" fmla="*/ 3524250 h 3524250"/>
              <a:gd name="connsiteX1" fmla="*/ 2305050 w 2847975"/>
              <a:gd name="connsiteY1" fmla="*/ 3524250 h 3524250"/>
              <a:gd name="connsiteX2" fmla="*/ 2314575 w 2847975"/>
              <a:gd name="connsiteY2" fmla="*/ 2085975 h 3524250"/>
              <a:gd name="connsiteX3" fmla="*/ 2266950 w 2847975"/>
              <a:gd name="connsiteY3" fmla="*/ 1724025 h 3524250"/>
              <a:gd name="connsiteX4" fmla="*/ 2295525 w 2847975"/>
              <a:gd name="connsiteY4" fmla="*/ 1200150 h 3524250"/>
              <a:gd name="connsiteX5" fmla="*/ 2486025 w 2847975"/>
              <a:gd name="connsiteY5" fmla="*/ 609600 h 3524250"/>
              <a:gd name="connsiteX6" fmla="*/ 2847975 w 2847975"/>
              <a:gd name="connsiteY6" fmla="*/ 0 h 3524250"/>
              <a:gd name="connsiteX7" fmla="*/ 2438400 w 2847975"/>
              <a:gd name="connsiteY7" fmla="*/ 20360 h 3524250"/>
              <a:gd name="connsiteX8" fmla="*/ 1913913 w 2847975"/>
              <a:gd name="connsiteY8" fmla="*/ 94131 h 3524250"/>
              <a:gd name="connsiteX9" fmla="*/ 1183867 w 2847975"/>
              <a:gd name="connsiteY9" fmla="*/ 302563 h 3524250"/>
              <a:gd name="connsiteX10" fmla="*/ 646476 w 2847975"/>
              <a:gd name="connsiteY10" fmla="*/ 516779 h 3524250"/>
              <a:gd name="connsiteX11" fmla="*/ 287293 w 2847975"/>
              <a:gd name="connsiteY11" fmla="*/ 779931 h 3524250"/>
              <a:gd name="connsiteX12" fmla="*/ 46083 w 2847975"/>
              <a:gd name="connsiteY12" fmla="*/ 1028891 h 3524250"/>
              <a:gd name="connsiteX13" fmla="*/ 0 w 2847975"/>
              <a:gd name="connsiteY13" fmla="*/ 1200150 h 3524250"/>
              <a:gd name="connsiteX14" fmla="*/ 0 w 2847975"/>
              <a:gd name="connsiteY14" fmla="*/ 1352550 h 3524250"/>
              <a:gd name="connsiteX15" fmla="*/ 0 w 2847975"/>
              <a:gd name="connsiteY15" fmla="*/ 3524250 h 3524250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38400 w 2817245"/>
              <a:gd name="connsiteY7" fmla="*/ 2429 h 3506319"/>
              <a:gd name="connsiteX8" fmla="*/ 1913913 w 2817245"/>
              <a:gd name="connsiteY8" fmla="*/ 76200 h 3506319"/>
              <a:gd name="connsiteX9" fmla="*/ 1183867 w 2817245"/>
              <a:gd name="connsiteY9" fmla="*/ 284632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46083 w 2817245"/>
              <a:gd name="connsiteY12" fmla="*/ 1010960 h 3506319"/>
              <a:gd name="connsiteX13" fmla="*/ 0 w 2817245"/>
              <a:gd name="connsiteY13" fmla="*/ 1182219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38400 w 2817245"/>
              <a:gd name="connsiteY7" fmla="*/ 2429 h 3506319"/>
              <a:gd name="connsiteX8" fmla="*/ 1913913 w 2817245"/>
              <a:gd name="connsiteY8" fmla="*/ 76200 h 3506319"/>
              <a:gd name="connsiteX9" fmla="*/ 1183867 w 2817245"/>
              <a:gd name="connsiteY9" fmla="*/ 284632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0 w 2817245"/>
              <a:gd name="connsiteY13" fmla="*/ 1182219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38400 w 2817245"/>
              <a:gd name="connsiteY7" fmla="*/ 2429 h 3506319"/>
              <a:gd name="connsiteX8" fmla="*/ 1913913 w 2817245"/>
              <a:gd name="connsiteY8" fmla="*/ 76200 h 3506319"/>
              <a:gd name="connsiteX9" fmla="*/ 1183867 w 2817245"/>
              <a:gd name="connsiteY9" fmla="*/ 284632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24584 w 2817245"/>
              <a:gd name="connsiteY13" fmla="*/ 1188196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38400 w 2817245"/>
              <a:gd name="connsiteY7" fmla="*/ 2429 h 3506319"/>
              <a:gd name="connsiteX8" fmla="*/ 1902488 w 2817245"/>
              <a:gd name="connsiteY8" fmla="*/ 117512 h 3506319"/>
              <a:gd name="connsiteX9" fmla="*/ 1183867 w 2817245"/>
              <a:gd name="connsiteY9" fmla="*/ 284632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24584 w 2817245"/>
              <a:gd name="connsiteY13" fmla="*/ 1188196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49825 w 2817245"/>
              <a:gd name="connsiteY7" fmla="*/ 35479 h 3506319"/>
              <a:gd name="connsiteX8" fmla="*/ 1902488 w 2817245"/>
              <a:gd name="connsiteY8" fmla="*/ 117512 h 3506319"/>
              <a:gd name="connsiteX9" fmla="*/ 1183867 w 2817245"/>
              <a:gd name="connsiteY9" fmla="*/ 284632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24584 w 2817245"/>
              <a:gd name="connsiteY13" fmla="*/ 1188196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49825 w 2817245"/>
              <a:gd name="connsiteY7" fmla="*/ 35479 h 3506319"/>
              <a:gd name="connsiteX8" fmla="*/ 1902488 w 2817245"/>
              <a:gd name="connsiteY8" fmla="*/ 117512 h 3506319"/>
              <a:gd name="connsiteX9" fmla="*/ 1183867 w 2817245"/>
              <a:gd name="connsiteY9" fmla="*/ 309420 h 3506319"/>
              <a:gd name="connsiteX10" fmla="*/ 646476 w 2817245"/>
              <a:gd name="connsiteY10" fmla="*/ 498848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24584 w 2817245"/>
              <a:gd name="connsiteY13" fmla="*/ 1188196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  <a:gd name="connsiteX0" fmla="*/ 0 w 2817245"/>
              <a:gd name="connsiteY0" fmla="*/ 3506319 h 3506319"/>
              <a:gd name="connsiteX1" fmla="*/ 2305050 w 2817245"/>
              <a:gd name="connsiteY1" fmla="*/ 3506319 h 3506319"/>
              <a:gd name="connsiteX2" fmla="*/ 2314575 w 2817245"/>
              <a:gd name="connsiteY2" fmla="*/ 2068044 h 3506319"/>
              <a:gd name="connsiteX3" fmla="*/ 2266950 w 2817245"/>
              <a:gd name="connsiteY3" fmla="*/ 1706094 h 3506319"/>
              <a:gd name="connsiteX4" fmla="*/ 2295525 w 2817245"/>
              <a:gd name="connsiteY4" fmla="*/ 1182219 h 3506319"/>
              <a:gd name="connsiteX5" fmla="*/ 2486025 w 2817245"/>
              <a:gd name="connsiteY5" fmla="*/ 591669 h 3506319"/>
              <a:gd name="connsiteX6" fmla="*/ 2817245 w 2817245"/>
              <a:gd name="connsiteY6" fmla="*/ 0 h 3506319"/>
              <a:gd name="connsiteX7" fmla="*/ 2449825 w 2817245"/>
              <a:gd name="connsiteY7" fmla="*/ 35479 h 3506319"/>
              <a:gd name="connsiteX8" fmla="*/ 1902488 w 2817245"/>
              <a:gd name="connsiteY8" fmla="*/ 117512 h 3506319"/>
              <a:gd name="connsiteX9" fmla="*/ 1183867 w 2817245"/>
              <a:gd name="connsiteY9" fmla="*/ 309420 h 3506319"/>
              <a:gd name="connsiteX10" fmla="*/ 703598 w 2817245"/>
              <a:gd name="connsiteY10" fmla="*/ 523635 h 3506319"/>
              <a:gd name="connsiteX11" fmla="*/ 287293 w 2817245"/>
              <a:gd name="connsiteY11" fmla="*/ 762000 h 3506319"/>
              <a:gd name="connsiteX12" fmla="*/ 64522 w 2817245"/>
              <a:gd name="connsiteY12" fmla="*/ 1034869 h 3506319"/>
              <a:gd name="connsiteX13" fmla="*/ 24584 w 2817245"/>
              <a:gd name="connsiteY13" fmla="*/ 1188196 h 3506319"/>
              <a:gd name="connsiteX14" fmla="*/ 0 w 2817245"/>
              <a:gd name="connsiteY14" fmla="*/ 1334619 h 3506319"/>
              <a:gd name="connsiteX15" fmla="*/ 0 w 2817245"/>
              <a:gd name="connsiteY15" fmla="*/ 3506319 h 3506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817245" h="3506319">
                <a:moveTo>
                  <a:pt x="0" y="3506319"/>
                </a:moveTo>
                <a:lnTo>
                  <a:pt x="2305050" y="3506319"/>
                </a:lnTo>
                <a:lnTo>
                  <a:pt x="2314575" y="2068044"/>
                </a:lnTo>
                <a:lnTo>
                  <a:pt x="2266950" y="1706094"/>
                </a:lnTo>
                <a:lnTo>
                  <a:pt x="2295525" y="1182219"/>
                </a:lnTo>
                <a:lnTo>
                  <a:pt x="2486025" y="591669"/>
                </a:lnTo>
                <a:lnTo>
                  <a:pt x="2817245" y="0"/>
                </a:lnTo>
                <a:lnTo>
                  <a:pt x="2449825" y="35479"/>
                </a:lnTo>
                <a:lnTo>
                  <a:pt x="1902488" y="117512"/>
                </a:lnTo>
                <a:lnTo>
                  <a:pt x="1183867" y="309420"/>
                </a:lnTo>
                <a:lnTo>
                  <a:pt x="703598" y="523635"/>
                </a:lnTo>
                <a:lnTo>
                  <a:pt x="287293" y="762000"/>
                </a:lnTo>
                <a:lnTo>
                  <a:pt x="64522" y="1034869"/>
                </a:lnTo>
                <a:lnTo>
                  <a:pt x="24584" y="1188196"/>
                </a:lnTo>
                <a:lnTo>
                  <a:pt x="0" y="1334619"/>
                </a:lnTo>
                <a:lnTo>
                  <a:pt x="0" y="3506319"/>
                </a:lnTo>
                <a:close/>
              </a:path>
            </a:pathLst>
          </a:custGeom>
          <a:pattFill prst="pct10">
            <a:fgClr>
              <a:schemeClr val="tx2"/>
            </a:fgClr>
            <a:bgClr>
              <a:schemeClr val="bg1"/>
            </a:bgClr>
          </a:patt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8575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4EB5590-A00F-23B3-CC24-68E6990FE4BD}"/>
              </a:ext>
            </a:extLst>
          </p:cNvPr>
          <p:cNvSpPr/>
          <p:nvPr/>
        </p:nvSpPr>
        <p:spPr>
          <a:xfrm>
            <a:off x="3265315" y="1812107"/>
            <a:ext cx="1316715" cy="4123297"/>
          </a:xfrm>
          <a:custGeom>
            <a:avLst/>
            <a:gdLst>
              <a:gd name="connsiteX0" fmla="*/ 1725592 w 1725592"/>
              <a:gd name="connsiteY0" fmla="*/ 0 h 5279923"/>
              <a:gd name="connsiteX1" fmla="*/ 1460121 w 1725592"/>
              <a:gd name="connsiteY1" fmla="*/ 457200 h 5279923"/>
              <a:gd name="connsiteX2" fmla="*/ 1238895 w 1725592"/>
              <a:gd name="connsiteY2" fmla="*/ 774291 h 5279923"/>
              <a:gd name="connsiteX3" fmla="*/ 1039792 w 1725592"/>
              <a:gd name="connsiteY3" fmla="*/ 1084007 h 5279923"/>
              <a:gd name="connsiteX4" fmla="*/ 707953 w 1725592"/>
              <a:gd name="connsiteY4" fmla="*/ 1548581 h 5279923"/>
              <a:gd name="connsiteX5" fmla="*/ 427734 w 1725592"/>
              <a:gd name="connsiteY5" fmla="*/ 2005781 h 5279923"/>
              <a:gd name="connsiteX6" fmla="*/ 221257 w 1725592"/>
              <a:gd name="connsiteY6" fmla="*/ 2389239 h 5279923"/>
              <a:gd name="connsiteX7" fmla="*/ 51650 w 1725592"/>
              <a:gd name="connsiteY7" fmla="*/ 2905433 h 5279923"/>
              <a:gd name="connsiteX8" fmla="*/ 31 w 1725592"/>
              <a:gd name="connsiteY8" fmla="*/ 3377381 h 5279923"/>
              <a:gd name="connsiteX9" fmla="*/ 44276 w 1725592"/>
              <a:gd name="connsiteY9" fmla="*/ 3841955 h 5279923"/>
              <a:gd name="connsiteX10" fmla="*/ 59024 w 1725592"/>
              <a:gd name="connsiteY10" fmla="*/ 5279923 h 5279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5592" h="5279923">
                <a:moveTo>
                  <a:pt x="1725592" y="0"/>
                </a:moveTo>
                <a:cubicBezTo>
                  <a:pt x="1633414" y="164076"/>
                  <a:pt x="1541237" y="328152"/>
                  <a:pt x="1460121" y="457200"/>
                </a:cubicBezTo>
                <a:cubicBezTo>
                  <a:pt x="1379005" y="586249"/>
                  <a:pt x="1308950" y="669823"/>
                  <a:pt x="1238895" y="774291"/>
                </a:cubicBezTo>
                <a:cubicBezTo>
                  <a:pt x="1168840" y="878759"/>
                  <a:pt x="1128282" y="954959"/>
                  <a:pt x="1039792" y="1084007"/>
                </a:cubicBezTo>
                <a:cubicBezTo>
                  <a:pt x="951302" y="1213055"/>
                  <a:pt x="809963" y="1394952"/>
                  <a:pt x="707953" y="1548581"/>
                </a:cubicBezTo>
                <a:cubicBezTo>
                  <a:pt x="605943" y="1702210"/>
                  <a:pt x="508850" y="1865671"/>
                  <a:pt x="427734" y="2005781"/>
                </a:cubicBezTo>
                <a:cubicBezTo>
                  <a:pt x="346618" y="2145891"/>
                  <a:pt x="283938" y="2239297"/>
                  <a:pt x="221257" y="2389239"/>
                </a:cubicBezTo>
                <a:cubicBezTo>
                  <a:pt x="158576" y="2539181"/>
                  <a:pt x="88521" y="2740743"/>
                  <a:pt x="51650" y="2905433"/>
                </a:cubicBezTo>
                <a:cubicBezTo>
                  <a:pt x="14779" y="3070123"/>
                  <a:pt x="1260" y="3221294"/>
                  <a:pt x="31" y="3377381"/>
                </a:cubicBezTo>
                <a:cubicBezTo>
                  <a:pt x="-1198" y="3533468"/>
                  <a:pt x="34444" y="3524865"/>
                  <a:pt x="44276" y="3841955"/>
                </a:cubicBezTo>
                <a:cubicBezTo>
                  <a:pt x="54108" y="4159045"/>
                  <a:pt x="62711" y="5030429"/>
                  <a:pt x="59024" y="5279923"/>
                </a:cubicBezTo>
              </a:path>
            </a:pathLst>
          </a:cu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D68D25-968F-4C97-B37F-6A1638403AAD}"/>
              </a:ext>
            </a:extLst>
          </p:cNvPr>
          <p:cNvSpPr txBox="1"/>
          <p:nvPr/>
        </p:nvSpPr>
        <p:spPr>
          <a:xfrm>
            <a:off x="4120392" y="4909932"/>
            <a:ext cx="1863009" cy="24760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Urban Min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CD3587F-21E9-7127-6F54-DD8F1E8ADB7C}"/>
              </a:ext>
            </a:extLst>
          </p:cNvPr>
          <p:cNvSpPr txBox="1"/>
          <p:nvPr/>
        </p:nvSpPr>
        <p:spPr>
          <a:xfrm>
            <a:off x="1959896" y="2243926"/>
            <a:ext cx="2622134" cy="25104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i="1" dirty="0">
                <a:solidFill>
                  <a:schemeClr val="tx1"/>
                </a:solidFill>
              </a:rPr>
              <a:t>Material Reduction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54330C8-E599-84A8-48C7-B2EB71302497}"/>
              </a:ext>
            </a:extLst>
          </p:cNvPr>
          <p:cNvGrpSpPr/>
          <p:nvPr/>
        </p:nvGrpSpPr>
        <p:grpSpPr>
          <a:xfrm>
            <a:off x="1157110" y="5995854"/>
            <a:ext cx="2168495" cy="646331"/>
            <a:chOff x="1157110" y="5995854"/>
            <a:chExt cx="1628521" cy="646331"/>
          </a:xfrm>
        </p:grpSpPr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DFF0F742-FB0B-7676-5202-5A9484B6981B}"/>
                </a:ext>
              </a:extLst>
            </p:cNvPr>
            <p:cNvCxnSpPr/>
            <p:nvPr/>
          </p:nvCxnSpPr>
          <p:spPr>
            <a:xfrm>
              <a:off x="1157110" y="6304777"/>
              <a:ext cx="1628521" cy="0"/>
            </a:xfrm>
            <a:prstGeom prst="straightConnector1">
              <a:avLst/>
            </a:prstGeom>
            <a:ln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70A98581-98C0-8219-C31E-02FFAD269570}"/>
                </a:ext>
              </a:extLst>
            </p:cNvPr>
            <p:cNvSpPr/>
            <p:nvPr/>
          </p:nvSpPr>
          <p:spPr>
            <a:xfrm>
              <a:off x="1444296" y="5995854"/>
              <a:ext cx="1016503" cy="64633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CC0000"/>
                  </a:solidFill>
                </a:rPr>
                <a:t>MR Preferred by Policymaker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2811F6D-3881-DE01-1C92-8940F96A0FE1}"/>
              </a:ext>
            </a:extLst>
          </p:cNvPr>
          <p:cNvGrpSpPr/>
          <p:nvPr/>
        </p:nvGrpSpPr>
        <p:grpSpPr>
          <a:xfrm>
            <a:off x="3325605" y="6037483"/>
            <a:ext cx="4786043" cy="560738"/>
            <a:chOff x="3613917" y="6028347"/>
            <a:chExt cx="5405061" cy="560738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8D0F684-18E0-D56A-78B0-229EC29E4FAC}"/>
                </a:ext>
              </a:extLst>
            </p:cNvPr>
            <p:cNvCxnSpPr>
              <a:cxnSpLocks/>
            </p:cNvCxnSpPr>
            <p:nvPr/>
          </p:nvCxnSpPr>
          <p:spPr>
            <a:xfrm>
              <a:off x="3613917" y="6294474"/>
              <a:ext cx="5405061" cy="0"/>
            </a:xfrm>
            <a:prstGeom prst="straightConnector1">
              <a:avLst/>
            </a:prstGeom>
            <a:ln>
              <a:headEnd type="stealt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B5A1C4B-43CF-8268-AF50-F5A1713075FD}"/>
                </a:ext>
              </a:extLst>
            </p:cNvPr>
            <p:cNvSpPr/>
            <p:nvPr/>
          </p:nvSpPr>
          <p:spPr>
            <a:xfrm>
              <a:off x="5290809" y="6028347"/>
              <a:ext cx="1675342" cy="560738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rgbClr val="CC0000"/>
                  </a:solidFill>
                </a:rPr>
                <a:t>UM Preferred by Policymaker</a:t>
              </a: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940C05A2-0551-AE18-22C7-5730189A6C9A}"/>
              </a:ext>
            </a:extLst>
          </p:cNvPr>
          <p:cNvSpPr/>
          <p:nvPr/>
        </p:nvSpPr>
        <p:spPr>
          <a:xfrm>
            <a:off x="8383005" y="1812107"/>
            <a:ext cx="542261" cy="441956"/>
          </a:xfrm>
          <a:prstGeom prst="rect">
            <a:avLst/>
          </a:prstGeom>
          <a:pattFill prst="wdDnDiag">
            <a:fgClr>
              <a:schemeClr val="tx1"/>
            </a:fgClr>
            <a:bgClr>
              <a:schemeClr val="bg1"/>
            </a:bgClr>
          </a:patt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A949949-9301-F527-296E-6153CFCD17B3}"/>
              </a:ext>
            </a:extLst>
          </p:cNvPr>
          <p:cNvSpPr/>
          <p:nvPr/>
        </p:nvSpPr>
        <p:spPr>
          <a:xfrm>
            <a:off x="8383005" y="2394697"/>
            <a:ext cx="542261" cy="44195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552A9D9-62E4-6F45-F16C-A01141129D3F}"/>
              </a:ext>
            </a:extLst>
          </p:cNvPr>
          <p:cNvSpPr/>
          <p:nvPr/>
        </p:nvSpPr>
        <p:spPr>
          <a:xfrm>
            <a:off x="8952173" y="1880773"/>
            <a:ext cx="2325175" cy="3046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 dirty="0">
                <a:solidFill>
                  <a:schemeClr val="tx1"/>
                </a:solidFill>
              </a:rPr>
              <a:t>UM misalignmen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7B8C013-5749-DEBA-8F9A-6061FBC77E28}"/>
              </a:ext>
            </a:extLst>
          </p:cNvPr>
          <p:cNvSpPr/>
          <p:nvPr/>
        </p:nvSpPr>
        <p:spPr>
          <a:xfrm>
            <a:off x="8952173" y="2463363"/>
            <a:ext cx="2325175" cy="3046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 dirty="0">
                <a:solidFill>
                  <a:schemeClr val="tx1"/>
                </a:solidFill>
              </a:rPr>
              <a:t>MR misalignment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7E06958-7934-3F89-EF6B-1AAC946EC3BC}"/>
              </a:ext>
            </a:extLst>
          </p:cNvPr>
          <p:cNvSpPr/>
          <p:nvPr/>
        </p:nvSpPr>
        <p:spPr>
          <a:xfrm>
            <a:off x="8259678" y="3619513"/>
            <a:ext cx="3346168" cy="62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accent6"/>
                </a:solidFill>
              </a:rPr>
              <a:t>Subsidize</a:t>
            </a:r>
            <a:r>
              <a:rPr lang="es-ES" sz="1600" dirty="0">
                <a:solidFill>
                  <a:schemeClr val="accent6"/>
                </a:solidFill>
              </a:rPr>
              <a:t> Urban </a:t>
            </a:r>
            <a:r>
              <a:rPr lang="es-ES" sz="1600" dirty="0" err="1">
                <a:solidFill>
                  <a:schemeClr val="accent6"/>
                </a:solidFill>
              </a:rPr>
              <a:t>Mining</a:t>
            </a:r>
            <a:r>
              <a:rPr lang="es-ES" sz="1600" dirty="0">
                <a:solidFill>
                  <a:schemeClr val="accent6"/>
                </a:solidFill>
              </a:rPr>
              <a:t>/ Material </a:t>
            </a:r>
            <a:r>
              <a:rPr lang="es-ES" sz="1600" dirty="0" err="1">
                <a:solidFill>
                  <a:schemeClr val="accent6"/>
                </a:solidFill>
              </a:rPr>
              <a:t>Reduction</a:t>
            </a:r>
            <a:r>
              <a:rPr lang="es-ES" sz="1600" dirty="0">
                <a:solidFill>
                  <a:schemeClr val="accent6"/>
                </a:solidFill>
              </a:rPr>
              <a:t> costs?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6121D3C-E67E-0908-BC1D-4DACE8C00CCF}"/>
              </a:ext>
            </a:extLst>
          </p:cNvPr>
          <p:cNvSpPr/>
          <p:nvPr/>
        </p:nvSpPr>
        <p:spPr>
          <a:xfrm>
            <a:off x="8259678" y="4464700"/>
            <a:ext cx="3346168" cy="620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sz="1600" dirty="0" err="1">
                <a:solidFill>
                  <a:schemeClr val="accent6"/>
                </a:solidFill>
              </a:rPr>
              <a:t>Improve</a:t>
            </a:r>
            <a:r>
              <a:rPr lang="es-ES" sz="1600" dirty="0">
                <a:solidFill>
                  <a:schemeClr val="accent6"/>
                </a:solidFill>
              </a:rPr>
              <a:t> </a:t>
            </a:r>
            <a:r>
              <a:rPr lang="es-ES" sz="1600" dirty="0" err="1">
                <a:solidFill>
                  <a:schemeClr val="accent6"/>
                </a:solidFill>
              </a:rPr>
              <a:t>access</a:t>
            </a:r>
            <a:r>
              <a:rPr lang="es-ES" sz="1600" dirty="0">
                <a:solidFill>
                  <a:schemeClr val="accent6"/>
                </a:solidFill>
              </a:rPr>
              <a:t> to EOL </a:t>
            </a:r>
            <a:r>
              <a:rPr lang="es-ES" sz="1600" dirty="0" err="1">
                <a:solidFill>
                  <a:schemeClr val="accent6"/>
                </a:solidFill>
              </a:rPr>
              <a:t>products</a:t>
            </a:r>
            <a:r>
              <a:rPr lang="es-ES" sz="1600" dirty="0">
                <a:solidFill>
                  <a:schemeClr val="accent6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05014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2" grpId="0" animBg="1"/>
      <p:bldP spid="23" grpId="0" animBg="1"/>
      <p:bldP spid="31" grpId="0" animBg="1"/>
      <p:bldP spid="32" grpId="0" animBg="1"/>
      <p:bldP spid="33" grpId="0" animBg="1"/>
      <p:bldP spid="34" grpId="0" animBg="1"/>
      <p:bldP spid="37" grpId="0"/>
      <p:bldP spid="4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3FB136-A7ED-E038-6B2D-6A25059318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6525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4">
            <a:extLst>
              <a:ext uri="{FF2B5EF4-FFF2-40B4-BE49-F238E27FC236}">
                <a16:creationId xmlns:a16="http://schemas.microsoft.com/office/drawing/2014/main" id="{16391A65-9849-031E-98A0-2FC879C2D4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7" b="17684"/>
          <a:stretch/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513A36C-7280-D7B1-5128-73DAEA5C1CD7}"/>
              </a:ext>
            </a:extLst>
          </p:cNvPr>
          <p:cNvSpPr/>
          <p:nvPr/>
        </p:nvSpPr>
        <p:spPr>
          <a:xfrm>
            <a:off x="928439" y="856095"/>
            <a:ext cx="3874114" cy="114504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0AD47">
                    <a:lumMod val="20000"/>
                    <a:lumOff val="8000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28575" cap="flat" cmpd="sng" algn="ctr">
                <a:solidFill>
                  <a:srgbClr val="70AD47">
                    <a:lumMod val="75000"/>
                  </a:srgbClr>
                </a:solidFill>
                <a:prstDash val="solid"/>
                <a:miter lim="800000"/>
              </a14:hiddenLine>
            </a:ext>
          </a:extLst>
        </p:spPr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3600" b="1" kern="0" dirty="0" err="1">
                <a:solidFill>
                  <a:schemeClr val="bg1"/>
                </a:solidFill>
                <a:latin typeface="Calibri" panose="020F0502020204030204"/>
              </a:rPr>
              <a:t>Concluding</a:t>
            </a:r>
            <a:r>
              <a:rPr lang="es-ES" sz="3600" b="1" kern="0" dirty="0">
                <a:solidFill>
                  <a:schemeClr val="bg1"/>
                </a:solidFill>
                <a:latin typeface="Calibri" panose="020F0502020204030204"/>
              </a:rPr>
              <a:t> </a:t>
            </a:r>
            <a:r>
              <a:rPr lang="es-ES" sz="3600" b="1" kern="0" dirty="0" err="1">
                <a:solidFill>
                  <a:schemeClr val="bg1"/>
                </a:solidFill>
                <a:latin typeface="Calibri" panose="020F0502020204030204"/>
              </a:rPr>
              <a:t>remarks</a:t>
            </a:r>
            <a:endParaRPr kumimoji="0" lang="en-US" sz="3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A4DE9F3F-8E36-DB44-ED05-70597E69CA1C}"/>
              </a:ext>
            </a:extLst>
          </p:cNvPr>
          <p:cNvSpPr txBox="1">
            <a:spLocks/>
          </p:cNvSpPr>
          <p:nvPr/>
        </p:nvSpPr>
        <p:spPr>
          <a:xfrm>
            <a:off x="928439" y="2011553"/>
            <a:ext cx="10605077" cy="845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rgbClr val="00684B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Clara Carrera</a:t>
            </a:r>
          </a:p>
          <a:p>
            <a:r>
              <a:rPr lang="en-US" i="1" dirty="0" err="1">
                <a:solidFill>
                  <a:schemeClr val="bg1"/>
                </a:solidFill>
              </a:rPr>
              <a:t>clara.carrera</a:t>
            </a:r>
            <a:r>
              <a:rPr lang="es-ES" i="1" dirty="0">
                <a:solidFill>
                  <a:schemeClr val="bg1"/>
                </a:solidFill>
              </a:rPr>
              <a:t>@insead.edu</a:t>
            </a:r>
            <a:endParaRPr lang="en-US" i="1" dirty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01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78ce76e4-231b-4eae-b6e8-4dad01ede779"/>
  <p:tag name="THINKCELLPRESENTATIONDONOTDELETE" val="&lt;?xml version=&quot;1.0&quot; encoding=&quot;UTF-16&quot; standalone=&quot;yes&quot;?&gt;&lt;root reqver=&quot;27037&quot;&gt;&lt;version val=&quot;330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1mho2Ifu05Bf1obFX.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OzXW8fHwMc5DkVPBbE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WHqNJk20SIJa5StU4N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7QfMYq3AYf1ExhrhsY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QcLaPSwufzDC_vs0ff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16MLbuw.RZ3pl.TPRY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VGTxCxHwK2RfxKx6S5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QWtqb.tQgxBkpLX6B1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s6SIYv7KB8IZIMU6ZE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dRr82Z8Ev1egzE2AHW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jiH5PqfBHook2djWb7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8FtYvGIzvLHqADFBbA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TuOOjnssdbqAZym44b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1mTw4kvLa5eQdF_GUR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yHb72Qss3Er9ilBqQ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UuFCCW90q7gsOsQ79M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hFToZqAuYNPJie37f1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lkcvQHeUd0CjevAQHi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BZL9EmlbWExPzBd1Oq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IdCRgWQy_9jF42_XyX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UcGZaDI8e9CJaHKvCe9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iuxQeBsdVGCXTuKHx.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X5aZgkkS7r0t398uYA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3NJ6iKywOpzEb02RwI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wAGmytQtV_JOuWYGwp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jrWmm0iQFnhnaOxFhO5g"/>
</p:tagLst>
</file>

<file path=ppt/theme/theme1.xml><?xml version="1.0" encoding="utf-8"?>
<a:theme xmlns:a="http://schemas.openxmlformats.org/drawingml/2006/main" name="Office Theme">
  <a:themeElements>
    <a:clrScheme name="INSEAD">
      <a:dk1>
        <a:srgbClr val="000000"/>
      </a:dk1>
      <a:lt1>
        <a:sysClr val="window" lastClr="FFFFFF"/>
      </a:lt1>
      <a:dk2>
        <a:srgbClr val="005548"/>
      </a:dk2>
      <a:lt2>
        <a:srgbClr val="E7E6E6"/>
      </a:lt2>
      <a:accent1>
        <a:srgbClr val="F38B32"/>
      </a:accent1>
      <a:accent2>
        <a:srgbClr val="019F6E"/>
      </a:accent2>
      <a:accent3>
        <a:srgbClr val="4F306B"/>
      </a:accent3>
      <a:accent4>
        <a:srgbClr val="00684B"/>
      </a:accent4>
      <a:accent5>
        <a:srgbClr val="8883BD"/>
      </a:accent5>
      <a:accent6>
        <a:srgbClr val="91172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SEAD template v1.potx" id="{6E9D0361-4F02-480F-98B7-A222CCE8B3AF}" vid="{639721E0-FFF1-4914-97EF-3AB9662389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SEAD template v1</Template>
  <TotalTime>42633</TotalTime>
  <Words>1816</Words>
  <Application>Microsoft Office PowerPoint</Application>
  <PresentationFormat>Widescreen</PresentationFormat>
  <Paragraphs>282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Cambria Math</vt:lpstr>
      <vt:lpstr>Graphik</vt:lpstr>
      <vt:lpstr>Wingdings</vt:lpstr>
      <vt:lpstr>Office Theme</vt:lpstr>
      <vt:lpstr>think-cell Slide</vt:lpstr>
      <vt:lpstr>Clean Energy Transition, Scarcity and Urban Mining</vt:lpstr>
      <vt:lpstr>The low carbon economy is a minerals economy</vt:lpstr>
      <vt:lpstr>Upon the clean energy transition…</vt:lpstr>
      <vt:lpstr>How can we maintain the clean energy transition in the face of scarcity?</vt:lpstr>
      <vt:lpstr>We model a monopolist producer and check alignment with regulator objectives </vt:lpstr>
      <vt:lpstr>Our model</vt:lpstr>
      <vt:lpstr>Results</vt:lpstr>
      <vt:lpstr>What should policymakers do?</vt:lpstr>
      <vt:lpstr>PowerPoint Presentation</vt:lpstr>
      <vt:lpstr>Appendix slides</vt:lpstr>
      <vt:lpstr>What about opening new mines?</vt:lpstr>
      <vt:lpstr>What about opening new mines?</vt:lpstr>
      <vt:lpstr>Extension 1: Independent Recycler</vt:lpstr>
      <vt:lpstr>Extension 2: What if we do BOTH Material Reduction and Urban Mining?</vt:lpstr>
      <vt:lpstr>Benchmark model</vt:lpstr>
      <vt:lpstr>Material reduction model</vt:lpstr>
      <vt:lpstr>Urban Mining model</vt:lpstr>
      <vt:lpstr>We consider 3 models</vt:lpstr>
      <vt:lpstr>We consider 3 models: Material flows</vt:lpstr>
      <vt:lpstr>Profitability and Range of Production</vt:lpstr>
      <vt:lpstr>Material reduction results (1/2)</vt:lpstr>
      <vt:lpstr>Urban Mining results (1/2)</vt:lpstr>
      <vt:lpstr>The path to the renewable energy transi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IEMONTESE Thomas</dc:creator>
  <cp:keywords/>
  <dc:description/>
  <cp:lastModifiedBy>Christine Means</cp:lastModifiedBy>
  <cp:revision>121</cp:revision>
  <cp:lastPrinted>1999-12-31T23:00:00Z</cp:lastPrinted>
  <dcterms:created xsi:type="dcterms:W3CDTF">2022-10-25T06:52:08Z</dcterms:created>
  <dcterms:modified xsi:type="dcterms:W3CDTF">2023-06-01T06:54:46Z</dcterms:modified>
  <cp:category/>
  <cp:contentStatus/>
</cp:coreProperties>
</file>